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commentAuthors.xml" ContentType="application/vnd.openxmlformats-officedocument.presentationml.commentAuthors+xml"/>
  <Override PartName="/ppt/charts/chart1.xml" ContentType="application/vnd.openxmlformats-officedocument.drawingml.chart+xml"/>
  <Override PartName="/ppt/theme/theme1.xml" ContentType="application/vnd.openxmlformats-officedocument.theme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authors.xml" ContentType="application/vnd.ms-powerpoint.authors+xml"/>
  <Override PartName="/ppt/charts/colors2.xml" ContentType="application/vnd.ms-office.chartcolorstyl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6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54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docProps/core.xml" ContentType="application/vnd.openxmlformats-package.core-properties+xml"/>
  <Override PartName="/ppt/tags/tag1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app.xml" ContentType="application/vnd.openxmlformats-officedocument.extended-propertie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5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24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5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8.xml" ContentType="application/vnd.openxmlformats-officedocument.presentationml.tags+xml"/>
  <Override PartName="/ppt/tags/tag56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36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37.xml" ContentType="application/vnd.openxmlformats-officedocument.presentationml.tags+xml"/>
  <Override PartName="/ppt/tags/tag34.xml" ContentType="application/vnd.openxmlformats-officedocument.presentationml.tags+xml"/>
  <Override PartName="/ppt/tags/tag4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395" r:id="rId2"/>
  </p:sldIdLst>
  <p:sldSz cx="12192000" cy="6858000"/>
  <p:notesSz cx="9296400" cy="70104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81" userDrawn="1">
          <p15:clr>
            <a:srgbClr val="A4A3A4"/>
          </p15:clr>
        </p15:guide>
        <p15:guide id="10" pos="3772" userDrawn="1">
          <p15:clr>
            <a:srgbClr val="A4A3A4"/>
          </p15:clr>
        </p15:guide>
        <p15:guide id="11" pos="3908" userDrawn="1">
          <p15:clr>
            <a:srgbClr val="A4A3A4"/>
          </p15:clr>
        </p15:guide>
        <p15:guide id="13" pos="7287" userDrawn="1">
          <p15:clr>
            <a:srgbClr val="A4A3A4"/>
          </p15:clr>
        </p15:guide>
        <p15:guide id="14" orient="horz" pos="300" userDrawn="1">
          <p15:clr>
            <a:srgbClr val="A4A3A4"/>
          </p15:clr>
        </p15:guide>
        <p15:guide id="15" orient="horz" pos="2273" userDrawn="1">
          <p15:clr>
            <a:srgbClr val="A4A3A4"/>
          </p15:clr>
        </p15:guide>
        <p15:guide id="16" orient="horz" pos="2409" userDrawn="1">
          <p15:clr>
            <a:srgbClr val="A4A3A4"/>
          </p15:clr>
        </p15:guide>
        <p15:guide id="17" orient="horz" pos="3702" userDrawn="1">
          <p15:clr>
            <a:srgbClr val="A4A3A4"/>
          </p15:clr>
        </p15:guide>
        <p15:guide id="18" orient="horz" pos="4110" userDrawn="1">
          <p15:clr>
            <a:srgbClr val="A4A3A4"/>
          </p15:clr>
        </p15:guide>
        <p15:guide id="19" pos="393" userDrawn="1">
          <p15:clr>
            <a:srgbClr val="A4A3A4"/>
          </p15:clr>
        </p15:guide>
        <p15:guide id="20" orient="horz" pos="390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A187E66-C976-74AD-9AEB-4EFDC78D2E87}" name="Karasková, Silvia" initials="KS" userId="S::Silvia.Karaskova@kraussmaffei.com::8550bab6-5902-4424-8d3d-b056253bc99d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er Vorderwisch  | i-pointing" initials="AV|i" lastIdx="1" clrIdx="0">
    <p:extLst>
      <p:ext uri="{19B8F6BF-5375-455C-9EA6-DF929625EA0E}">
        <p15:presenceInfo xmlns:p15="http://schemas.microsoft.com/office/powerpoint/2012/main" userId="S::Alex.Vorderwisch@i-pointing.de::0d46e5bc-9dd7-49ff-a9a6-dd0ee98e50a7" providerId="AD"/>
      </p:ext>
    </p:extLst>
  </p:cmAuthor>
  <p:cmAuthor id="2" name="Sylvia Orgus | i-pointing" initials="SO|i" lastIdx="11" clrIdx="1">
    <p:extLst>
      <p:ext uri="{19B8F6BF-5375-455C-9EA6-DF929625EA0E}">
        <p15:presenceInfo xmlns:p15="http://schemas.microsoft.com/office/powerpoint/2012/main" userId="S-1-5-21-3365261423-210234544-3524291762-11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6633"/>
    <a:srgbClr val="CCFF33"/>
    <a:srgbClr val="96F2E3"/>
    <a:srgbClr val="AEB755"/>
    <a:srgbClr val="D7DB31"/>
    <a:srgbClr val="008000"/>
    <a:srgbClr val="1E60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524" autoAdjust="0"/>
    <p:restoredTop sz="96201" autoAdjust="0"/>
  </p:normalViewPr>
  <p:slideViewPr>
    <p:cSldViewPr snapToGrid="0">
      <p:cViewPr varScale="1">
        <p:scale>
          <a:sx n="109" d="100"/>
          <a:sy n="109" d="100"/>
        </p:scale>
        <p:origin x="942" y="138"/>
      </p:cViewPr>
      <p:guideLst>
        <p:guide orient="horz" pos="981"/>
        <p:guide pos="3772"/>
        <p:guide pos="3908"/>
        <p:guide pos="7287"/>
        <p:guide orient="horz" pos="300"/>
        <p:guide orient="horz" pos="2273"/>
        <p:guide orient="horz" pos="2409"/>
        <p:guide orient="horz" pos="3702"/>
        <p:guide orient="horz" pos="4110"/>
        <p:guide pos="393"/>
        <p:guide orient="horz" pos="3906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>
        <p:scale>
          <a:sx n="75" d="100"/>
          <a:sy n="75" d="100"/>
        </p:scale>
        <p:origin x="2938" y="-5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2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Relationship Id="rId14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US" sz="1400" b="1" dirty="0" err="1">
                <a:solidFill>
                  <a:schemeClr val="bg1"/>
                </a:solidFill>
              </a:rPr>
              <a:t>Komunálny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odpad</a:t>
            </a:r>
            <a:r>
              <a:rPr lang="sk-SK" sz="1400" b="1" dirty="0">
                <a:solidFill>
                  <a:schemeClr val="bg1"/>
                </a:solidFill>
              </a:rPr>
              <a:t> 12/2021</a:t>
            </a:r>
            <a:endParaRPr lang="en-US" sz="1400" b="1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0.1278778282385122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omunálny odpad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BEB-41E9-96FD-A3B9E1F489F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BEB-41E9-96FD-A3B9E1F489F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BEB-41E9-96FD-A3B9E1F489F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BEB-41E9-96FD-A3B9E1F489F4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BEB-41E9-96FD-A3B9E1F489F4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BEB-41E9-96FD-A3B9E1F489F4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BEB-41E9-96FD-A3B9E1F489F4}"/>
                </c:ext>
              </c:extLst>
            </c:dLbl>
            <c:dLbl>
              <c:idx val="2"/>
              <c:layout>
                <c:manualLayout>
                  <c:x val="-1.3753244987106672E-2"/>
                  <c:y val="-0.20258318985117024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61CC631-74D7-4FAD-8432-867BA37F648C}" type="VALUE">
                      <a:rPr lang="en-US" sz="1800" b="1">
                        <a:solidFill>
                          <a:schemeClr val="bg1"/>
                        </a:solidFill>
                      </a:rPr>
                      <a:pPr>
                        <a:defRPr sz="1100"/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741825924036329"/>
                      <c:h val="0.131532185135418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BEB-41E9-96FD-A3B9E1F489F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BEB-41E9-96FD-A3B9E1F489F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BEB-41E9-96FD-A3B9E1F489F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Papier</c:v>
                </c:pt>
                <c:pt idx="1">
                  <c:v>Plast</c:v>
                </c:pt>
                <c:pt idx="2">
                  <c:v>Zmes</c:v>
                </c:pt>
                <c:pt idx="3">
                  <c:v>Pap.utierky/Zhodnotenie</c:v>
                </c:pt>
                <c:pt idx="4">
                  <c:v>BRKO 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BEB-41E9-96FD-A3B9E1F489F4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lvl="1" algn="ctr" rtl="0">
              <a:defRPr sz="2128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 err="1">
                <a:solidFill>
                  <a:schemeClr val="bg1"/>
                </a:solidFill>
              </a:rPr>
              <a:t>Komunálny</a:t>
            </a:r>
            <a:r>
              <a:rPr lang="en-US" sz="1400" dirty="0">
                <a:solidFill>
                  <a:schemeClr val="bg1"/>
                </a:solidFill>
              </a:rPr>
              <a:t> </a:t>
            </a:r>
            <a:r>
              <a:rPr lang="en-US" sz="1400" dirty="0" err="1">
                <a:solidFill>
                  <a:schemeClr val="bg1"/>
                </a:solidFill>
              </a:rPr>
              <a:t>odpad</a:t>
            </a:r>
            <a:r>
              <a:rPr lang="sk-SK" sz="1400" dirty="0">
                <a:solidFill>
                  <a:schemeClr val="bg1"/>
                </a:solidFill>
              </a:rPr>
              <a:t> </a:t>
            </a:r>
          </a:p>
          <a:p>
            <a:pPr lvl="1" algn="ctr" rtl="0">
              <a:defRPr>
                <a:solidFill>
                  <a:prstClr val="white"/>
                </a:solidFill>
              </a:defRPr>
            </a:pPr>
            <a:r>
              <a:rPr lang="sk-SK" sz="1400" dirty="0">
                <a:solidFill>
                  <a:schemeClr val="bg1"/>
                </a:solidFill>
              </a:rPr>
              <a:t>12/2023</a:t>
            </a:r>
          </a:p>
          <a:p>
            <a:pPr lvl="1" algn="ctr" rtl="0">
              <a:defRPr>
                <a:solidFill>
                  <a:prstClr val="white"/>
                </a:solidFill>
              </a:defRPr>
            </a:pPr>
            <a:endParaRPr lang="sk-SK" sz="1400" dirty="0">
              <a:solidFill>
                <a:schemeClr val="bg1"/>
              </a:solidFill>
            </a:endParaRPr>
          </a:p>
          <a:p>
            <a:pPr lvl="1" algn="ctr" rtl="0">
              <a:defRPr>
                <a:solidFill>
                  <a:prstClr val="white"/>
                </a:solidFill>
              </a:defRPr>
            </a:pPr>
            <a:endParaRPr lang="en-US" sz="1400" dirty="0">
              <a:solidFill>
                <a:schemeClr val="bg1"/>
              </a:solidFill>
            </a:endParaRPr>
          </a:p>
        </c:rich>
      </c:tx>
      <c:layout>
        <c:manualLayout>
          <c:xMode val="edge"/>
          <c:yMode val="edge"/>
          <c:x val="5.1728621874160552E-3"/>
          <c:y val="1.867790347641865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lvl="1" algn="ctr" rtl="0">
            <a:defRPr sz="2128" b="1" i="0" u="none" strike="noStrike" kern="1200" baseline="0">
              <a:solidFill>
                <a:prstClr val="white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1019536541162895"/>
          <c:y val="0.11496184931343152"/>
          <c:w val="0.6443184276701952"/>
          <c:h val="0.7629114021859464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omunálny odpad</c:v>
                </c:pt>
              </c:strCache>
            </c:strRef>
          </c:tx>
          <c:spPr>
            <a:solidFill>
              <a:schemeClr val="tx1"/>
            </a:solidFill>
          </c:spPr>
          <c:dPt>
            <c:idx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978-4F94-8DF5-6D90720FE219}"/>
              </c:ext>
            </c:extLst>
          </c:dPt>
          <c:dPt>
            <c:idx val="1"/>
            <c:bubble3D val="0"/>
            <c:spPr>
              <a:solidFill>
                <a:srgbClr val="FFFF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978-4F94-8DF5-6D90720FE219}"/>
              </c:ext>
            </c:extLst>
          </c:dPt>
          <c:dPt>
            <c:idx val="2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978-4F94-8DF5-6D90720FE219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978-4F94-8DF5-6D90720FE219}"/>
              </c:ext>
            </c:extLst>
          </c:dPt>
          <c:dPt>
            <c:idx val="4"/>
            <c:bubble3D val="0"/>
            <c:spPr>
              <a:solidFill>
                <a:srgbClr val="99663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978-4F94-8DF5-6D90720FE219}"/>
              </c:ext>
            </c:extLst>
          </c:dPt>
          <c:dLbls>
            <c:dLbl>
              <c:idx val="0"/>
              <c:layout>
                <c:manualLayout>
                  <c:x val="4.7843419516253802E-2"/>
                  <c:y val="-2.5264877695547021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dk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131A80DD-4D46-4645-8738-82A14CD198F1}" type="PERCENTAGE">
                      <a:rPr lang="en-US" sz="1800" b="1" baseline="0" smtClean="0">
                        <a:ln>
                          <a:solidFill>
                            <a:schemeClr val="bg1"/>
                          </a:solidFill>
                        </a:ln>
                      </a:rPr>
                      <a:pPr>
                        <a:defRPr>
                          <a:ln>
                            <a:solidFill>
                              <a:schemeClr val="bg1"/>
                            </a:solidFill>
                          </a:ln>
                        </a:defRPr>
                      </a:pPr>
                      <a:t>[PERCENTAGE]</a:t>
                    </a:fld>
                    <a:endParaRPr lang="en-US"/>
                  </a:p>
                </c:rich>
              </c:tx>
              <c:spPr>
                <a:solidFill>
                  <a:srgbClr val="0078CA">
                    <a:lumMod val="50000"/>
                  </a:srgbClr>
                </a:solidFill>
                <a:ln>
                  <a:solidFill>
                    <a:prstClr val="white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ln>
                        <a:solidFill>
                          <a:schemeClr val="bg1"/>
                        </a:solidFill>
                      </a:ln>
                      <a:solidFill>
                        <a:schemeClr val="dk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5280818192019496"/>
                      <c:h val="8.1976877147683133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978-4F94-8DF5-6D90720FE219}"/>
                </c:ext>
              </c:extLst>
            </c:dLbl>
            <c:dLbl>
              <c:idx val="1"/>
              <c:layout>
                <c:manualLayout>
                  <c:x val="-6.6463391867510449E-2"/>
                  <c:y val="-9.4472929770246461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dk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8798F87-B3A4-42D7-A659-D2C57741A599}" type="PERCENTAGE">
                      <a:rPr lang="en-US" sz="1800" b="1" baseline="0" smtClean="0">
                        <a:ln>
                          <a:solidFill>
                            <a:schemeClr val="bg1"/>
                          </a:solidFill>
                        </a:ln>
                        <a:solidFill>
                          <a:srgbClr val="FFFF00"/>
                        </a:solidFill>
                      </a:rPr>
                      <a:pPr>
                        <a:defRPr>
                          <a:ln>
                            <a:solidFill>
                              <a:schemeClr val="bg1"/>
                            </a:solidFill>
                          </a:ln>
                        </a:defRPr>
                      </a:pPr>
                      <a:t>[PERCENTAGE]</a:t>
                    </a:fld>
                    <a:endParaRPr lang="en-US"/>
                  </a:p>
                </c:rich>
              </c:tx>
              <c:spPr>
                <a:solidFill>
                  <a:srgbClr val="0078CA">
                    <a:lumMod val="50000"/>
                  </a:srgbClr>
                </a:solidFill>
                <a:ln>
                  <a:solidFill>
                    <a:prstClr val="white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ln>
                        <a:solidFill>
                          <a:schemeClr val="bg1"/>
                        </a:solidFill>
                      </a:ln>
                      <a:solidFill>
                        <a:schemeClr val="dk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2548064826146094"/>
                      <c:h val="9.060110190624566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978-4F94-8DF5-6D90720FE219}"/>
                </c:ext>
              </c:extLst>
            </c:dLbl>
            <c:dLbl>
              <c:idx val="2"/>
              <c:layout>
                <c:manualLayout>
                  <c:x val="5.0933269873827455E-3"/>
                  <c:y val="-0.215515988022165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1" i="0" u="none" strike="noStrike" kern="1200" baseline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b="1" baseline="0" dirty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</a:rPr>
                      <a:t>
</a:t>
                    </a:r>
                    <a:fld id="{A1D0D472-7DB4-4117-A9CD-49B378B56217}" type="PERCENTAGE">
                      <a:rPr lang="en-US" sz="6000" b="1" baseline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</a:rPr>
                      <a:pPr>
                        <a:defRPr b="1">
                          <a:ln>
                            <a:solidFill>
                              <a:schemeClr val="bg1"/>
                            </a:solidFill>
                          </a:ln>
                          <a:solidFill>
                            <a:schemeClr val="bg1"/>
                          </a:solidFill>
                        </a:defRPr>
                      </a:pPr>
                      <a:t>[PERCENTAGE]</a:t>
                    </a:fld>
                    <a:endParaRPr lang="en-US" b="1" baseline="0" dirty="0">
                      <a:ln>
                        <a:solidFill>
                          <a:schemeClr val="bg1"/>
                        </a:solidFill>
                      </a:ln>
                      <a:solidFill>
                        <a:schemeClr val="bg1"/>
                      </a:solidFill>
                    </a:endParaRPr>
                  </a:p>
                </c:rich>
              </c:tx>
              <c:spPr>
                <a:solidFill>
                  <a:schemeClr val="accent4">
                    <a:lumMod val="50000"/>
                  </a:schemeClr>
                </a:solidFill>
                <a:ln>
                  <a:solidFill>
                    <a:schemeClr val="bg1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ln>
                        <a:solidFill>
                          <a:schemeClr val="bg1"/>
                        </a:solidFill>
                      </a:ln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0698914074543"/>
                      <c:h val="0.2702278385572226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978-4F94-8DF5-6D90720FE219}"/>
                </c:ext>
              </c:extLst>
            </c:dLbl>
            <c:dLbl>
              <c:idx val="3"/>
              <c:layout>
                <c:manualLayout>
                  <c:x val="-2.0691346921668408E-2"/>
                  <c:y val="5.6033710429255972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dk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A4DBEB07-82E1-4E2A-B656-50378A90CC5B}" type="PERCENTAGE">
                      <a:rPr lang="en-US" sz="1800" b="1" baseline="0" smtClean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accent6"/>
                        </a:solidFill>
                      </a:rPr>
                      <a:pPr>
                        <a:defRPr>
                          <a:ln>
                            <a:solidFill>
                              <a:schemeClr val="bg1"/>
                            </a:solidFill>
                          </a:ln>
                        </a:defRPr>
                      </a:pPr>
                      <a:t>[PERCENTAGE]</a:t>
                    </a:fld>
                    <a:endParaRPr lang="en-US"/>
                  </a:p>
                </c:rich>
              </c:tx>
              <c:spPr>
                <a:solidFill>
                  <a:srgbClr val="0078CA">
                    <a:lumMod val="50000"/>
                  </a:srgbClr>
                </a:solidFill>
                <a:ln>
                  <a:solidFill>
                    <a:prstClr val="white"/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ln>
                        <a:solidFill>
                          <a:schemeClr val="bg1"/>
                        </a:solidFill>
                      </a:ln>
                      <a:solidFill>
                        <a:schemeClr val="dk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3311272450208197"/>
                      <c:h val="0.1359940932160855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978-4F94-8DF5-6D90720FE219}"/>
                </c:ext>
              </c:extLst>
            </c:dLbl>
            <c:dLbl>
              <c:idx val="4"/>
              <c:layout>
                <c:manualLayout>
                  <c:x val="-1.0613387967758049E-2"/>
                  <c:y val="2.6414370206582173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dk2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6C78BBA-09E5-40AE-9931-272E0EB9C74F}" type="VALUE">
                      <a:rPr lang="en-US" sz="1800" b="1" i="0" u="none" strike="noStrike" kern="1200" baseline="0" smtClean="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latin typeface="+mn-lt"/>
                        <a:ea typeface="+mn-ea"/>
                        <a:cs typeface="+mn-cs"/>
                      </a:rPr>
                      <a:pPr>
                        <a:defRPr>
                          <a:ln>
                            <a:solidFill>
                              <a:schemeClr val="bg1"/>
                            </a:solidFill>
                          </a:ln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solidFill>
                  <a:srgbClr val="0078CA">
                    <a:lumMod val="50000"/>
                  </a:srgbClr>
                </a:solidFill>
                <a:ln w="3175">
                  <a:solidFill>
                    <a:prstClr val="white"/>
                  </a:solidFill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ln>
                        <a:solidFill>
                          <a:schemeClr val="bg1"/>
                        </a:solidFill>
                      </a:ln>
                      <a:solidFill>
                        <a:schemeClr val="dk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13734376785172051"/>
                      <c:h val="9.5297261775229319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978-4F94-8DF5-6D90720FE219}"/>
                </c:ext>
              </c:extLst>
            </c:dLbl>
            <c:spPr>
              <a:solidFill>
                <a:schemeClr val="accent4">
                  <a:lumMod val="50000"/>
                </a:schemeClr>
              </a:solidFill>
              <a:ln>
                <a:solidFill>
                  <a:schemeClr val="bg1"/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ln>
                      <a:solidFill>
                        <a:schemeClr val="bg1"/>
                      </a:solidFill>
                    </a:ln>
                    <a:solidFill>
                      <a:schemeClr val="dk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2:$A$6</c:f>
              <c:strCache>
                <c:ptCount val="5"/>
                <c:pt idx="0">
                  <c:v>Papier</c:v>
                </c:pt>
                <c:pt idx="1">
                  <c:v>Plast</c:v>
                </c:pt>
                <c:pt idx="2">
                  <c:v>Zmes</c:v>
                </c:pt>
                <c:pt idx="3">
                  <c:v>Pap.utierky/Zhodnotenie</c:v>
                </c:pt>
                <c:pt idx="4">
                  <c:v>BRKO 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</c:v>
                </c:pt>
                <c:pt idx="1">
                  <c:v>0.15</c:v>
                </c:pt>
                <c:pt idx="2">
                  <c:v>0.5</c:v>
                </c:pt>
                <c:pt idx="3">
                  <c:v>0.2</c:v>
                </c:pt>
                <c:pt idx="4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978-4F94-8DF5-6D90720FE2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0170941120453976E-2"/>
          <c:y val="0.86629645209864592"/>
          <c:w val="0.94702943831125996"/>
          <c:h val="0.11634653981380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082F5B-5858-4738-8B7C-76A1E304CEA3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9820D83C-2348-440C-8279-C6A6F691B84A}">
      <dgm:prSet phldrT="[Text]" custT="1"/>
      <dgm:spPr>
        <a:solidFill>
          <a:schemeClr val="tx2"/>
        </a:solidFill>
      </dgm:spPr>
      <dgm:t>
        <a:bodyPr/>
        <a:lstStyle/>
        <a:p>
          <a:pPr algn="l"/>
          <a:r>
            <a:rPr lang="sk-SK" sz="1600" dirty="0">
              <a:solidFill>
                <a:schemeClr val="bg1"/>
              </a:solidFill>
            </a:rPr>
            <a:t>Ochrana životného prostredia</a:t>
          </a:r>
          <a:endParaRPr lang="en-US" sz="1600" dirty="0">
            <a:solidFill>
              <a:schemeClr val="bg1"/>
            </a:solidFill>
          </a:endParaRPr>
        </a:p>
      </dgm:t>
    </dgm:pt>
    <dgm:pt modelId="{79E1BE9F-D214-4942-8506-3523A2A9EB25}" type="parTrans" cxnId="{256ADF48-40EE-4196-855B-40B5A17545DA}">
      <dgm:prSet/>
      <dgm:spPr/>
      <dgm:t>
        <a:bodyPr/>
        <a:lstStyle/>
        <a:p>
          <a:endParaRPr lang="en-US"/>
        </a:p>
      </dgm:t>
    </dgm:pt>
    <dgm:pt modelId="{24162B10-1D9E-40E6-A3C5-15567ED956E1}" type="sibTrans" cxnId="{256ADF48-40EE-4196-855B-40B5A17545DA}">
      <dgm:prSet/>
      <dgm:spPr/>
      <dgm:t>
        <a:bodyPr/>
        <a:lstStyle/>
        <a:p>
          <a:endParaRPr lang="en-US"/>
        </a:p>
      </dgm:t>
    </dgm:pt>
    <dgm:pt modelId="{199859DF-B5F5-41EB-B4F8-FF67BFD87F90}">
      <dgm:prSet phldrT="[Text]" custT="1"/>
      <dgm:spPr>
        <a:solidFill>
          <a:schemeClr val="accent6"/>
        </a:solidFill>
      </dgm:spPr>
      <dgm:t>
        <a:bodyPr/>
        <a:lstStyle/>
        <a:p>
          <a:pPr algn="ctr"/>
          <a:r>
            <a:rPr lang="sk-SK" sz="1600" dirty="0">
              <a:solidFill>
                <a:schemeClr val="bg1"/>
              </a:solidFill>
            </a:rPr>
            <a:t>Angažovaní zamestnanci</a:t>
          </a:r>
          <a:endParaRPr lang="en-US" sz="1600" dirty="0">
            <a:solidFill>
              <a:schemeClr val="bg1"/>
            </a:solidFill>
          </a:endParaRPr>
        </a:p>
      </dgm:t>
    </dgm:pt>
    <dgm:pt modelId="{A39EF1D4-F0E4-4724-AA35-C9FB59306801}" type="parTrans" cxnId="{3E0A9859-0A8D-4D4A-B5C5-A65F2207CD6D}">
      <dgm:prSet/>
      <dgm:spPr/>
      <dgm:t>
        <a:bodyPr/>
        <a:lstStyle/>
        <a:p>
          <a:endParaRPr lang="en-US"/>
        </a:p>
      </dgm:t>
    </dgm:pt>
    <dgm:pt modelId="{7971B3D4-9FC2-4804-9FA7-B43F8F863F68}" type="sibTrans" cxnId="{3E0A9859-0A8D-4D4A-B5C5-A65F2207CD6D}">
      <dgm:prSet/>
      <dgm:spPr/>
      <dgm:t>
        <a:bodyPr/>
        <a:lstStyle/>
        <a:p>
          <a:endParaRPr lang="en-US"/>
        </a:p>
      </dgm:t>
    </dgm:pt>
    <dgm:pt modelId="{9A1734D9-957C-4BAA-996A-B09A2D24924B}">
      <dgm:prSet phldrT="[Text]" custT="1"/>
      <dgm:spPr>
        <a:solidFill>
          <a:schemeClr val="accent5"/>
        </a:solidFill>
      </dgm:spPr>
      <dgm:t>
        <a:bodyPr/>
        <a:lstStyle/>
        <a:p>
          <a:r>
            <a:rPr lang="sk-SK" sz="1600" dirty="0">
              <a:solidFill>
                <a:schemeClr val="bg1"/>
              </a:solidFill>
            </a:rPr>
            <a:t>Ekonomická zodpovednosť</a:t>
          </a:r>
          <a:endParaRPr lang="en-US" sz="1600" dirty="0"/>
        </a:p>
      </dgm:t>
    </dgm:pt>
    <dgm:pt modelId="{1952A620-C73D-43A4-AD20-42C1D2C2C1D2}" type="parTrans" cxnId="{CF0BD641-348C-4F8C-94E3-AC06C378140F}">
      <dgm:prSet/>
      <dgm:spPr/>
      <dgm:t>
        <a:bodyPr/>
        <a:lstStyle/>
        <a:p>
          <a:endParaRPr lang="en-US"/>
        </a:p>
      </dgm:t>
    </dgm:pt>
    <dgm:pt modelId="{8CF7F564-6247-49A9-8806-61FFB5F606D7}" type="sibTrans" cxnId="{CF0BD641-348C-4F8C-94E3-AC06C378140F}">
      <dgm:prSet/>
      <dgm:spPr/>
      <dgm:t>
        <a:bodyPr/>
        <a:lstStyle/>
        <a:p>
          <a:endParaRPr lang="en-US"/>
        </a:p>
      </dgm:t>
    </dgm:pt>
    <dgm:pt modelId="{FC38F006-1D88-4BA9-A81B-26D7C4817F90}" type="pres">
      <dgm:prSet presAssocID="{16082F5B-5858-4738-8B7C-76A1E304CEA3}" presName="Name0" presStyleCnt="0">
        <dgm:presLayoutVars>
          <dgm:dir/>
          <dgm:resizeHandles val="exact"/>
        </dgm:presLayoutVars>
      </dgm:prSet>
      <dgm:spPr/>
    </dgm:pt>
    <dgm:pt modelId="{75B99DCD-2BF4-4C51-AAB8-E5C4DB785848}" type="pres">
      <dgm:prSet presAssocID="{9820D83C-2348-440C-8279-C6A6F691B84A}" presName="parTxOnly" presStyleLbl="node1" presStyleIdx="0" presStyleCnt="3">
        <dgm:presLayoutVars>
          <dgm:bulletEnabled val="1"/>
        </dgm:presLayoutVars>
      </dgm:prSet>
      <dgm:spPr/>
    </dgm:pt>
    <dgm:pt modelId="{6A803F28-781F-4AC2-832A-AB77038AA4C9}" type="pres">
      <dgm:prSet presAssocID="{24162B10-1D9E-40E6-A3C5-15567ED956E1}" presName="parSpace" presStyleCnt="0"/>
      <dgm:spPr/>
    </dgm:pt>
    <dgm:pt modelId="{6F7B65BD-63C0-456E-B284-C5536CE26042}" type="pres">
      <dgm:prSet presAssocID="{199859DF-B5F5-41EB-B4F8-FF67BFD87F90}" presName="parTxOnly" presStyleLbl="node1" presStyleIdx="1" presStyleCnt="3">
        <dgm:presLayoutVars>
          <dgm:bulletEnabled val="1"/>
        </dgm:presLayoutVars>
      </dgm:prSet>
      <dgm:spPr/>
    </dgm:pt>
    <dgm:pt modelId="{A85C20DE-CD86-4B26-BB36-01842FD85E2D}" type="pres">
      <dgm:prSet presAssocID="{7971B3D4-9FC2-4804-9FA7-B43F8F863F68}" presName="parSpace" presStyleCnt="0"/>
      <dgm:spPr/>
    </dgm:pt>
    <dgm:pt modelId="{81FBECB1-58DD-486E-9BD9-2CF1ACEF3B23}" type="pres">
      <dgm:prSet presAssocID="{9A1734D9-957C-4BAA-996A-B09A2D24924B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D7324813-307D-43D7-89DD-47513AB50055}" type="presOf" srcId="{199859DF-B5F5-41EB-B4F8-FF67BFD87F90}" destId="{6F7B65BD-63C0-456E-B284-C5536CE26042}" srcOrd="0" destOrd="0" presId="urn:microsoft.com/office/officeart/2005/8/layout/hChevron3"/>
    <dgm:cxn modelId="{CF0BD641-348C-4F8C-94E3-AC06C378140F}" srcId="{16082F5B-5858-4738-8B7C-76A1E304CEA3}" destId="{9A1734D9-957C-4BAA-996A-B09A2D24924B}" srcOrd="2" destOrd="0" parTransId="{1952A620-C73D-43A4-AD20-42C1D2C2C1D2}" sibTransId="{8CF7F564-6247-49A9-8806-61FFB5F606D7}"/>
    <dgm:cxn modelId="{12CF5462-F0E5-400B-B9E9-97BB1D1C728C}" type="presOf" srcId="{16082F5B-5858-4738-8B7C-76A1E304CEA3}" destId="{FC38F006-1D88-4BA9-A81B-26D7C4817F90}" srcOrd="0" destOrd="0" presId="urn:microsoft.com/office/officeart/2005/8/layout/hChevron3"/>
    <dgm:cxn modelId="{256ADF48-40EE-4196-855B-40B5A17545DA}" srcId="{16082F5B-5858-4738-8B7C-76A1E304CEA3}" destId="{9820D83C-2348-440C-8279-C6A6F691B84A}" srcOrd="0" destOrd="0" parTransId="{79E1BE9F-D214-4942-8506-3523A2A9EB25}" sibTransId="{24162B10-1D9E-40E6-A3C5-15567ED956E1}"/>
    <dgm:cxn modelId="{B4339954-7548-4AB6-B2C1-0A9ECBCF0AC2}" type="presOf" srcId="{9820D83C-2348-440C-8279-C6A6F691B84A}" destId="{75B99DCD-2BF4-4C51-AAB8-E5C4DB785848}" srcOrd="0" destOrd="0" presId="urn:microsoft.com/office/officeart/2005/8/layout/hChevron3"/>
    <dgm:cxn modelId="{3E0A9859-0A8D-4D4A-B5C5-A65F2207CD6D}" srcId="{16082F5B-5858-4738-8B7C-76A1E304CEA3}" destId="{199859DF-B5F5-41EB-B4F8-FF67BFD87F90}" srcOrd="1" destOrd="0" parTransId="{A39EF1D4-F0E4-4724-AA35-C9FB59306801}" sibTransId="{7971B3D4-9FC2-4804-9FA7-B43F8F863F68}"/>
    <dgm:cxn modelId="{C7C7855A-BFD5-495A-8ED6-9B6326871601}" type="presOf" srcId="{9A1734D9-957C-4BAA-996A-B09A2D24924B}" destId="{81FBECB1-58DD-486E-9BD9-2CF1ACEF3B23}" srcOrd="0" destOrd="0" presId="urn:microsoft.com/office/officeart/2005/8/layout/hChevron3"/>
    <dgm:cxn modelId="{257454AB-A2EF-415B-9B6A-56AFB9F92EE3}" type="presParOf" srcId="{FC38F006-1D88-4BA9-A81B-26D7C4817F90}" destId="{75B99DCD-2BF4-4C51-AAB8-E5C4DB785848}" srcOrd="0" destOrd="0" presId="urn:microsoft.com/office/officeart/2005/8/layout/hChevron3"/>
    <dgm:cxn modelId="{03C62A35-537D-4238-98FC-C225DF4D1FA7}" type="presParOf" srcId="{FC38F006-1D88-4BA9-A81B-26D7C4817F90}" destId="{6A803F28-781F-4AC2-832A-AB77038AA4C9}" srcOrd="1" destOrd="0" presId="urn:microsoft.com/office/officeart/2005/8/layout/hChevron3"/>
    <dgm:cxn modelId="{5B46A4BB-535E-4DF5-9DD7-DDE48834F12D}" type="presParOf" srcId="{FC38F006-1D88-4BA9-A81B-26D7C4817F90}" destId="{6F7B65BD-63C0-456E-B284-C5536CE26042}" srcOrd="2" destOrd="0" presId="urn:microsoft.com/office/officeart/2005/8/layout/hChevron3"/>
    <dgm:cxn modelId="{4551547C-2FB0-4BD5-9577-66E0672A1DD3}" type="presParOf" srcId="{FC38F006-1D88-4BA9-A81B-26D7C4817F90}" destId="{A85C20DE-CD86-4B26-BB36-01842FD85E2D}" srcOrd="3" destOrd="0" presId="urn:microsoft.com/office/officeart/2005/8/layout/hChevron3"/>
    <dgm:cxn modelId="{A1440827-4D33-43AD-85A0-BA3A44E2291E}" type="presParOf" srcId="{FC38F006-1D88-4BA9-A81B-26D7C4817F90}" destId="{81FBECB1-58DD-486E-9BD9-2CF1ACEF3B23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5B99DCD-2BF4-4C51-AAB8-E5C4DB785848}">
      <dsp:nvSpPr>
        <dsp:cNvPr id="0" name=""/>
        <dsp:cNvSpPr/>
      </dsp:nvSpPr>
      <dsp:spPr>
        <a:xfrm>
          <a:off x="3335" y="0"/>
          <a:ext cx="2916490" cy="629072"/>
        </a:xfrm>
        <a:prstGeom prst="homePlate">
          <a:avLst/>
        </a:prstGeom>
        <a:solidFill>
          <a:schemeClr val="tx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kern="1200" dirty="0">
              <a:solidFill>
                <a:schemeClr val="bg1"/>
              </a:solidFill>
            </a:rPr>
            <a:t>Ochrana životného prostredia</a:t>
          </a:r>
          <a:endParaRPr lang="en-US" sz="1600" kern="1200" dirty="0">
            <a:solidFill>
              <a:schemeClr val="bg1"/>
            </a:solidFill>
          </a:endParaRPr>
        </a:p>
      </dsp:txBody>
      <dsp:txXfrm>
        <a:off x="3335" y="0"/>
        <a:ext cx="2759222" cy="629072"/>
      </dsp:txXfrm>
    </dsp:sp>
    <dsp:sp modelId="{6F7B65BD-63C0-456E-B284-C5536CE26042}">
      <dsp:nvSpPr>
        <dsp:cNvPr id="0" name=""/>
        <dsp:cNvSpPr/>
      </dsp:nvSpPr>
      <dsp:spPr>
        <a:xfrm>
          <a:off x="2336527" y="0"/>
          <a:ext cx="2916490" cy="629072"/>
        </a:xfrm>
        <a:prstGeom prst="chevron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kern="1200" dirty="0">
              <a:solidFill>
                <a:schemeClr val="bg1"/>
              </a:solidFill>
            </a:rPr>
            <a:t>Angažovaní zamestnanci</a:t>
          </a:r>
          <a:endParaRPr lang="en-US" sz="1600" kern="1200" dirty="0">
            <a:solidFill>
              <a:schemeClr val="bg1"/>
            </a:solidFill>
          </a:endParaRPr>
        </a:p>
      </dsp:txBody>
      <dsp:txXfrm>
        <a:off x="2651063" y="0"/>
        <a:ext cx="2287418" cy="629072"/>
      </dsp:txXfrm>
    </dsp:sp>
    <dsp:sp modelId="{81FBECB1-58DD-486E-9BD9-2CF1ACEF3B23}">
      <dsp:nvSpPr>
        <dsp:cNvPr id="0" name=""/>
        <dsp:cNvSpPr/>
      </dsp:nvSpPr>
      <dsp:spPr>
        <a:xfrm>
          <a:off x="4669719" y="0"/>
          <a:ext cx="2916490" cy="629072"/>
        </a:xfrm>
        <a:prstGeom prst="chevron">
          <a:avLst/>
        </a:prstGeom>
        <a:solidFill>
          <a:schemeClr val="accent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sk-SK" sz="1600" kern="1200" dirty="0">
              <a:solidFill>
                <a:schemeClr val="bg1"/>
              </a:solidFill>
            </a:rPr>
            <a:t>Ekonomická zodpovednosť</a:t>
          </a:r>
          <a:endParaRPr lang="en-US" sz="1600" kern="1200" dirty="0"/>
        </a:p>
      </dsp:txBody>
      <dsp:txXfrm>
        <a:off x="4984255" y="0"/>
        <a:ext cx="2287418" cy="6290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CD53923B-4CF1-488B-8A5C-18BBC43BA35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45062CD-8C19-46DC-9BC0-9915A499FAE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265809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D1041E-DBE0-44B5-944E-F1231FAC4875}" type="datetimeFigureOut">
              <a:rPr lang="de-DE" smtClean="0"/>
              <a:t>08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D08530C-C8ED-452B-ACB2-31C34D1870D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AE2F94F-5369-4668-83A1-FEBF8A467D2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265809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E44AA1-9997-41F5-ABAB-4F31EF4EC49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4173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265809" y="0"/>
            <a:ext cx="4028440" cy="351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B5D0E5A2-30B9-504A-A91F-7A49D8AA0C9A}" type="datetimeFigureOut">
              <a:rPr lang="de-DE" smtClean="0"/>
              <a:pPr/>
              <a:t>08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855913" y="593725"/>
            <a:ext cx="3584575" cy="20161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02547" y="2794423"/>
            <a:ext cx="8091312" cy="3709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s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de-DE" dirty="0" err="1"/>
              <a:t>Footer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265809" y="6658664"/>
            <a:ext cx="4028440" cy="351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6D67C70F-53FC-EA4A-809C-15BB2A7438A0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90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1pPr>
    <a:lvl2pPr marL="180975" indent="-180975" algn="l" defTabSz="914400" rtl="0" eaLnBrk="1" latinLnBrk="0" hangingPunct="1">
      <a:buClr>
        <a:schemeClr val="tx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2pPr>
    <a:lvl3pPr marL="357188" indent="-176213" algn="l" defTabSz="914400" rtl="0" eaLnBrk="1" latinLnBrk="0" hangingPunct="1">
      <a:buClr>
        <a:schemeClr val="tx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3pPr>
    <a:lvl4pPr marL="538163" indent="-180975" algn="l" defTabSz="914400" rtl="0" eaLnBrk="1" latinLnBrk="0" hangingPunct="1">
      <a:buClr>
        <a:schemeClr val="tx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4pPr>
    <a:lvl5pPr marL="719138" indent="-180975" algn="l" defTabSz="914400" rtl="0" eaLnBrk="1" latinLnBrk="0" hangingPunct="1">
      <a:buClr>
        <a:schemeClr val="tx1"/>
      </a:buClr>
      <a:buFont typeface="Symbol" panose="05050102010706020507" pitchFamily="18" charset="2"/>
      <a:buChar char="-"/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Intro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726360D-4C2F-4CA0-918F-6A8E857B1C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206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726360D-4C2F-4CA0-918F-6A8E857B1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Grafik 36">
            <a:extLst>
              <a:ext uri="{FF2B5EF4-FFF2-40B4-BE49-F238E27FC236}">
                <a16:creationId xmlns:a16="http://schemas.microsoft.com/office/drawing/2014/main" id="{3C80587D-25B2-4F26-A23D-ED28A0F473F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B9FE58C1-8F53-49F5-88BA-BDE7F652BB31}"/>
              </a:ext>
            </a:extLst>
          </p:cNvPr>
          <p:cNvGrpSpPr/>
          <p:nvPr userDrawn="1"/>
        </p:nvGrpSpPr>
        <p:grpSpPr>
          <a:xfrm>
            <a:off x="1636126" y="2778253"/>
            <a:ext cx="8538748" cy="844296"/>
            <a:chOff x="1636126" y="3121153"/>
            <a:chExt cx="8538748" cy="844296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E6B71FDC-41B3-43C2-A1A9-887BB8B4763D}"/>
                </a:ext>
              </a:extLst>
            </p:cNvPr>
            <p:cNvSpPr/>
            <p:nvPr/>
          </p:nvSpPr>
          <p:spPr>
            <a:xfrm>
              <a:off x="7902135" y="3721267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DE5AE660-FC4B-4689-9B9C-DF9CF35472CE}"/>
                </a:ext>
              </a:extLst>
            </p:cNvPr>
            <p:cNvSpPr/>
            <p:nvPr/>
          </p:nvSpPr>
          <p:spPr>
            <a:xfrm>
              <a:off x="8294263" y="3726437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982AA5DA-E800-4232-9916-AB71FA3F7272}"/>
                </a:ext>
              </a:extLst>
            </p:cNvPr>
            <p:cNvSpPr/>
            <p:nvPr/>
          </p:nvSpPr>
          <p:spPr>
            <a:xfrm>
              <a:off x="8739681" y="3721267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B148E982-C4E0-4974-B19F-EB7A4FBF3F32}"/>
                </a:ext>
              </a:extLst>
            </p:cNvPr>
            <p:cNvSpPr/>
            <p:nvPr/>
          </p:nvSpPr>
          <p:spPr>
            <a:xfrm>
              <a:off x="10117419" y="3627472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6E67F24-C1D4-4143-95CD-4A73A5F374FD}"/>
                </a:ext>
              </a:extLst>
            </p:cNvPr>
            <p:cNvSpPr/>
            <p:nvPr/>
          </p:nvSpPr>
          <p:spPr>
            <a:xfrm>
              <a:off x="9839507" y="3720549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24CE5362-7298-48E6-82A3-428F36CD6096}"/>
                </a:ext>
              </a:extLst>
            </p:cNvPr>
            <p:cNvSpPr/>
            <p:nvPr/>
          </p:nvSpPr>
          <p:spPr>
            <a:xfrm>
              <a:off x="10063006" y="3728879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9246CFF7-C46F-4AF6-91D6-A28AC4513920}"/>
                </a:ext>
              </a:extLst>
            </p:cNvPr>
            <p:cNvSpPr/>
            <p:nvPr/>
          </p:nvSpPr>
          <p:spPr>
            <a:xfrm>
              <a:off x="9325862" y="3721267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3251745C-B69C-4AFF-AAEC-99DC470E09AB}"/>
                </a:ext>
              </a:extLst>
            </p:cNvPr>
            <p:cNvSpPr/>
            <p:nvPr/>
          </p:nvSpPr>
          <p:spPr>
            <a:xfrm>
              <a:off x="8529396" y="3721267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7B3285A4-24D4-4DFC-BD2A-289027E84932}"/>
                </a:ext>
              </a:extLst>
            </p:cNvPr>
            <p:cNvSpPr/>
            <p:nvPr/>
          </p:nvSpPr>
          <p:spPr>
            <a:xfrm>
              <a:off x="9566454" y="3636090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E0C4DF5C-0176-4C61-B1D9-945D8FCB8F0C}"/>
                </a:ext>
              </a:extLst>
            </p:cNvPr>
            <p:cNvSpPr/>
            <p:nvPr/>
          </p:nvSpPr>
          <p:spPr>
            <a:xfrm>
              <a:off x="8048933" y="3721267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E8743367-8CC5-4DAA-9F95-E30FA1439A7D}"/>
                </a:ext>
              </a:extLst>
            </p:cNvPr>
            <p:cNvSpPr/>
            <p:nvPr/>
          </p:nvSpPr>
          <p:spPr>
            <a:xfrm>
              <a:off x="7634683" y="3636090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7C13CDDB-FE5C-4EA3-8F94-ACDCCF9905C7}"/>
                </a:ext>
              </a:extLst>
            </p:cNvPr>
            <p:cNvSpPr/>
            <p:nvPr/>
          </p:nvSpPr>
          <p:spPr>
            <a:xfrm>
              <a:off x="8991619" y="3636090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D43E2089-53D1-4308-B1F2-166F9CA1DEDF}"/>
                </a:ext>
              </a:extLst>
            </p:cNvPr>
            <p:cNvSpPr/>
            <p:nvPr/>
          </p:nvSpPr>
          <p:spPr>
            <a:xfrm>
              <a:off x="1636126" y="3121153"/>
              <a:ext cx="5831652" cy="646365"/>
            </a:xfrm>
            <a:custGeom>
              <a:avLst/>
              <a:gdLst>
                <a:gd name="connsiteX0" fmla="*/ 3869817 w 3867150"/>
                <a:gd name="connsiteY0" fmla="*/ 118300 h 428625"/>
                <a:gd name="connsiteX1" fmla="*/ 3787617 w 3867150"/>
                <a:gd name="connsiteY1" fmla="*/ 87916 h 428625"/>
                <a:gd name="connsiteX2" fmla="*/ 3705416 w 3867150"/>
                <a:gd name="connsiteY2" fmla="*/ 116396 h 428625"/>
                <a:gd name="connsiteX3" fmla="*/ 3680270 w 3867150"/>
                <a:gd name="connsiteY3" fmla="*/ 178213 h 428625"/>
                <a:gd name="connsiteX4" fmla="*/ 3739610 w 3867150"/>
                <a:gd name="connsiteY4" fmla="*/ 234315 h 428625"/>
                <a:gd name="connsiteX5" fmla="*/ 3771995 w 3867150"/>
                <a:gd name="connsiteY5" fmla="*/ 239554 h 428625"/>
                <a:gd name="connsiteX6" fmla="*/ 3795332 w 3867150"/>
                <a:gd name="connsiteY6" fmla="*/ 260032 h 428625"/>
                <a:gd name="connsiteX7" fmla="*/ 3744944 w 3867150"/>
                <a:gd name="connsiteY7" fmla="*/ 290894 h 428625"/>
                <a:gd name="connsiteX8" fmla="*/ 3687985 w 3867150"/>
                <a:gd name="connsiteY8" fmla="*/ 267081 h 428625"/>
                <a:gd name="connsiteX9" fmla="*/ 3645694 w 3867150"/>
                <a:gd name="connsiteY9" fmla="*/ 304133 h 428625"/>
                <a:gd name="connsiteX10" fmla="*/ 3741135 w 3867150"/>
                <a:gd name="connsiteY10" fmla="*/ 341186 h 428625"/>
                <a:gd name="connsiteX11" fmla="*/ 3827145 w 3867150"/>
                <a:gd name="connsiteY11" fmla="*/ 314134 h 428625"/>
                <a:gd name="connsiteX12" fmla="*/ 3853720 w 3867150"/>
                <a:gd name="connsiteY12" fmla="*/ 254222 h 428625"/>
                <a:gd name="connsiteX13" fmla="*/ 3793903 w 3867150"/>
                <a:gd name="connsiteY13" fmla="*/ 190024 h 428625"/>
                <a:gd name="connsiteX14" fmla="*/ 3761994 w 3867150"/>
                <a:gd name="connsiteY14" fmla="*/ 184785 h 428625"/>
                <a:gd name="connsiteX15" fmla="*/ 3739134 w 3867150"/>
                <a:gd name="connsiteY15" fmla="*/ 166211 h 428625"/>
                <a:gd name="connsiteX16" fmla="*/ 3782377 w 3867150"/>
                <a:gd name="connsiteY16" fmla="*/ 136303 h 428625"/>
                <a:gd name="connsiteX17" fmla="*/ 3829431 w 3867150"/>
                <a:gd name="connsiteY17" fmla="*/ 153924 h 428625"/>
                <a:gd name="connsiteX18" fmla="*/ 3869817 w 3867150"/>
                <a:gd name="connsiteY18" fmla="*/ 118300 h 428625"/>
                <a:gd name="connsiteX19" fmla="*/ 3661220 w 3867150"/>
                <a:gd name="connsiteY19" fmla="*/ 122111 h 428625"/>
                <a:gd name="connsiteX20" fmla="*/ 3588544 w 3867150"/>
                <a:gd name="connsiteY20" fmla="*/ 87916 h 428625"/>
                <a:gd name="connsiteX21" fmla="*/ 3462623 w 3867150"/>
                <a:gd name="connsiteY21" fmla="*/ 214313 h 428625"/>
                <a:gd name="connsiteX22" fmla="*/ 3458813 w 3867150"/>
                <a:gd name="connsiteY22" fmla="*/ 252794 h 428625"/>
                <a:gd name="connsiteX23" fmla="*/ 3547586 w 3867150"/>
                <a:gd name="connsiteY23" fmla="*/ 341186 h 428625"/>
                <a:gd name="connsiteX24" fmla="*/ 3629311 w 3867150"/>
                <a:gd name="connsiteY24" fmla="*/ 309848 h 428625"/>
                <a:gd name="connsiteX25" fmla="*/ 3596545 w 3867150"/>
                <a:gd name="connsiteY25" fmla="*/ 267557 h 428625"/>
                <a:gd name="connsiteX26" fmla="*/ 3553301 w 3867150"/>
                <a:gd name="connsiteY26" fmla="*/ 288512 h 428625"/>
                <a:gd name="connsiteX27" fmla="*/ 3518154 w 3867150"/>
                <a:gd name="connsiteY27" fmla="*/ 246221 h 428625"/>
                <a:gd name="connsiteX28" fmla="*/ 3521488 w 3867150"/>
                <a:gd name="connsiteY28" fmla="*/ 214313 h 428625"/>
                <a:gd name="connsiteX29" fmla="*/ 3547586 w 3867150"/>
                <a:gd name="connsiteY29" fmla="*/ 156305 h 428625"/>
                <a:gd name="connsiteX30" fmla="*/ 3582734 w 3867150"/>
                <a:gd name="connsiteY30" fmla="*/ 140589 h 428625"/>
                <a:gd name="connsiteX31" fmla="*/ 3616928 w 3867150"/>
                <a:gd name="connsiteY31" fmla="*/ 161068 h 428625"/>
                <a:gd name="connsiteX32" fmla="*/ 3661220 w 3867150"/>
                <a:gd name="connsiteY32" fmla="*/ 122111 h 428625"/>
                <a:gd name="connsiteX33" fmla="*/ 3456813 w 3867150"/>
                <a:gd name="connsiteY33" fmla="*/ 953 h 428625"/>
                <a:gd name="connsiteX34" fmla="*/ 3395948 w 3867150"/>
                <a:gd name="connsiteY34" fmla="*/ 953 h 428625"/>
                <a:gd name="connsiteX35" fmla="*/ 3386423 w 3867150"/>
                <a:gd name="connsiteY35" fmla="*/ 49816 h 428625"/>
                <a:gd name="connsiteX36" fmla="*/ 3446812 w 3867150"/>
                <a:gd name="connsiteY36" fmla="*/ 49816 h 428625"/>
                <a:gd name="connsiteX37" fmla="*/ 3456813 w 3867150"/>
                <a:gd name="connsiteY37" fmla="*/ 953 h 428625"/>
                <a:gd name="connsiteX38" fmla="*/ 3436906 w 3867150"/>
                <a:gd name="connsiteY38" fmla="*/ 98393 h 428625"/>
                <a:gd name="connsiteX39" fmla="*/ 3377946 w 3867150"/>
                <a:gd name="connsiteY39" fmla="*/ 98393 h 428625"/>
                <a:gd name="connsiteX40" fmla="*/ 3329940 w 3867150"/>
                <a:gd name="connsiteY40" fmla="*/ 338423 h 428625"/>
                <a:gd name="connsiteX41" fmla="*/ 3388900 w 3867150"/>
                <a:gd name="connsiteY41" fmla="*/ 338423 h 428625"/>
                <a:gd name="connsiteX42" fmla="*/ 3436906 w 3867150"/>
                <a:gd name="connsiteY42" fmla="*/ 98393 h 428625"/>
                <a:gd name="connsiteX43" fmla="*/ 3328035 w 3867150"/>
                <a:gd name="connsiteY43" fmla="*/ 98393 h 428625"/>
                <a:gd name="connsiteX44" fmla="*/ 3287173 w 3867150"/>
                <a:gd name="connsiteY44" fmla="*/ 98393 h 428625"/>
                <a:gd name="connsiteX45" fmla="*/ 3301937 w 3867150"/>
                <a:gd name="connsiteY45" fmla="*/ 24289 h 428625"/>
                <a:gd name="connsiteX46" fmla="*/ 3242977 w 3867150"/>
                <a:gd name="connsiteY46" fmla="*/ 24289 h 428625"/>
                <a:gd name="connsiteX47" fmla="*/ 3228213 w 3867150"/>
                <a:gd name="connsiteY47" fmla="*/ 98393 h 428625"/>
                <a:gd name="connsiteX48" fmla="*/ 3203067 w 3867150"/>
                <a:gd name="connsiteY48" fmla="*/ 98393 h 428625"/>
                <a:gd name="connsiteX49" fmla="*/ 3194019 w 3867150"/>
                <a:gd name="connsiteY49" fmla="*/ 142970 h 428625"/>
                <a:gd name="connsiteX50" fmla="*/ 3219164 w 3867150"/>
                <a:gd name="connsiteY50" fmla="*/ 142970 h 428625"/>
                <a:gd name="connsiteX51" fmla="*/ 3194971 w 3867150"/>
                <a:gd name="connsiteY51" fmla="*/ 264223 h 428625"/>
                <a:gd name="connsiteX52" fmla="*/ 3193066 w 3867150"/>
                <a:gd name="connsiteY52" fmla="*/ 284702 h 428625"/>
                <a:gd name="connsiteX53" fmla="*/ 3252883 w 3867150"/>
                <a:gd name="connsiteY53" fmla="*/ 338328 h 428625"/>
                <a:gd name="connsiteX54" fmla="*/ 3283268 w 3867150"/>
                <a:gd name="connsiteY54" fmla="*/ 338328 h 428625"/>
                <a:gd name="connsiteX55" fmla="*/ 3293269 w 3867150"/>
                <a:gd name="connsiteY55" fmla="*/ 288988 h 428625"/>
                <a:gd name="connsiteX56" fmla="*/ 3271933 w 3867150"/>
                <a:gd name="connsiteY56" fmla="*/ 288988 h 428625"/>
                <a:gd name="connsiteX57" fmla="*/ 3252883 w 3867150"/>
                <a:gd name="connsiteY57" fmla="*/ 273748 h 428625"/>
                <a:gd name="connsiteX58" fmla="*/ 3253836 w 3867150"/>
                <a:gd name="connsiteY58" fmla="*/ 264700 h 428625"/>
                <a:gd name="connsiteX59" fmla="*/ 3278029 w 3867150"/>
                <a:gd name="connsiteY59" fmla="*/ 142970 h 428625"/>
                <a:gd name="connsiteX60" fmla="*/ 3318891 w 3867150"/>
                <a:gd name="connsiteY60" fmla="*/ 142970 h 428625"/>
                <a:gd name="connsiteX61" fmla="*/ 3328035 w 3867150"/>
                <a:gd name="connsiteY61" fmla="*/ 98393 h 428625"/>
                <a:gd name="connsiteX62" fmla="*/ 3163062 w 3867150"/>
                <a:gd name="connsiteY62" fmla="*/ 118300 h 428625"/>
                <a:gd name="connsiteX63" fmla="*/ 3080861 w 3867150"/>
                <a:gd name="connsiteY63" fmla="*/ 87916 h 428625"/>
                <a:gd name="connsiteX64" fmla="*/ 2998565 w 3867150"/>
                <a:gd name="connsiteY64" fmla="*/ 116396 h 428625"/>
                <a:gd name="connsiteX65" fmla="*/ 2973420 w 3867150"/>
                <a:gd name="connsiteY65" fmla="*/ 178213 h 428625"/>
                <a:gd name="connsiteX66" fmla="*/ 3032760 w 3867150"/>
                <a:gd name="connsiteY66" fmla="*/ 234315 h 428625"/>
                <a:gd name="connsiteX67" fmla="*/ 3065145 w 3867150"/>
                <a:gd name="connsiteY67" fmla="*/ 239554 h 428625"/>
                <a:gd name="connsiteX68" fmla="*/ 3088481 w 3867150"/>
                <a:gd name="connsiteY68" fmla="*/ 260032 h 428625"/>
                <a:gd name="connsiteX69" fmla="*/ 3037999 w 3867150"/>
                <a:gd name="connsiteY69" fmla="*/ 290894 h 428625"/>
                <a:gd name="connsiteX70" fmla="*/ 2981039 w 3867150"/>
                <a:gd name="connsiteY70" fmla="*/ 267081 h 428625"/>
                <a:gd name="connsiteX71" fmla="*/ 2938748 w 3867150"/>
                <a:gd name="connsiteY71" fmla="*/ 304133 h 428625"/>
                <a:gd name="connsiteX72" fmla="*/ 3034189 w 3867150"/>
                <a:gd name="connsiteY72" fmla="*/ 341186 h 428625"/>
                <a:gd name="connsiteX73" fmla="*/ 3120295 w 3867150"/>
                <a:gd name="connsiteY73" fmla="*/ 314134 h 428625"/>
                <a:gd name="connsiteX74" fmla="*/ 3146870 w 3867150"/>
                <a:gd name="connsiteY74" fmla="*/ 254222 h 428625"/>
                <a:gd name="connsiteX75" fmla="*/ 3087053 w 3867150"/>
                <a:gd name="connsiteY75" fmla="*/ 190024 h 428625"/>
                <a:gd name="connsiteX76" fmla="*/ 3055144 w 3867150"/>
                <a:gd name="connsiteY76" fmla="*/ 184785 h 428625"/>
                <a:gd name="connsiteX77" fmla="*/ 3032284 w 3867150"/>
                <a:gd name="connsiteY77" fmla="*/ 166211 h 428625"/>
                <a:gd name="connsiteX78" fmla="*/ 3075623 w 3867150"/>
                <a:gd name="connsiteY78" fmla="*/ 136303 h 428625"/>
                <a:gd name="connsiteX79" fmla="*/ 3122676 w 3867150"/>
                <a:gd name="connsiteY79" fmla="*/ 153924 h 428625"/>
                <a:gd name="connsiteX80" fmla="*/ 3163062 w 3867150"/>
                <a:gd name="connsiteY80" fmla="*/ 118300 h 428625"/>
                <a:gd name="connsiteX81" fmla="*/ 2858453 w 3867150"/>
                <a:gd name="connsiteY81" fmla="*/ 231934 h 428625"/>
                <a:gd name="connsiteX82" fmla="*/ 2855595 w 3867150"/>
                <a:gd name="connsiteY82" fmla="*/ 246697 h 428625"/>
                <a:gd name="connsiteX83" fmla="*/ 2840831 w 3867150"/>
                <a:gd name="connsiteY83" fmla="*/ 278035 h 428625"/>
                <a:gd name="connsiteX84" fmla="*/ 2802350 w 3867150"/>
                <a:gd name="connsiteY84" fmla="*/ 293275 h 428625"/>
                <a:gd name="connsiteX85" fmla="*/ 2770918 w 3867150"/>
                <a:gd name="connsiteY85" fmla="*/ 269938 h 428625"/>
                <a:gd name="connsiteX86" fmla="*/ 2813209 w 3867150"/>
                <a:gd name="connsiteY86" fmla="*/ 231838 h 428625"/>
                <a:gd name="connsiteX87" fmla="*/ 2858453 w 3867150"/>
                <a:gd name="connsiteY87" fmla="*/ 231838 h 428625"/>
                <a:gd name="connsiteX88" fmla="*/ 2930652 w 3867150"/>
                <a:gd name="connsiteY88" fmla="*/ 156877 h 428625"/>
                <a:gd name="connsiteX89" fmla="*/ 2842736 w 3867150"/>
                <a:gd name="connsiteY89" fmla="*/ 88011 h 428625"/>
                <a:gd name="connsiteX90" fmla="*/ 2751011 w 3867150"/>
                <a:gd name="connsiteY90" fmla="*/ 121253 h 428625"/>
                <a:gd name="connsiteX91" fmla="*/ 2781395 w 3867150"/>
                <a:gd name="connsiteY91" fmla="*/ 160687 h 428625"/>
                <a:gd name="connsiteX92" fmla="*/ 2834640 w 3867150"/>
                <a:gd name="connsiteY92" fmla="*/ 137350 h 428625"/>
                <a:gd name="connsiteX93" fmla="*/ 2871311 w 3867150"/>
                <a:gd name="connsiteY93" fmla="*/ 164021 h 428625"/>
                <a:gd name="connsiteX94" fmla="*/ 2869883 w 3867150"/>
                <a:gd name="connsiteY94" fmla="*/ 176879 h 428625"/>
                <a:gd name="connsiteX95" fmla="*/ 2866549 w 3867150"/>
                <a:gd name="connsiteY95" fmla="*/ 191643 h 428625"/>
                <a:gd name="connsiteX96" fmla="*/ 2807589 w 3867150"/>
                <a:gd name="connsiteY96" fmla="*/ 191643 h 428625"/>
                <a:gd name="connsiteX97" fmla="*/ 2735390 w 3867150"/>
                <a:gd name="connsiteY97" fmla="*/ 217265 h 428625"/>
                <a:gd name="connsiteX98" fmla="*/ 2713101 w 3867150"/>
                <a:gd name="connsiteY98" fmla="*/ 275749 h 428625"/>
                <a:gd name="connsiteX99" fmla="*/ 2783872 w 3867150"/>
                <a:gd name="connsiteY99" fmla="*/ 340805 h 428625"/>
                <a:gd name="connsiteX100" fmla="*/ 2843784 w 3867150"/>
                <a:gd name="connsiteY100" fmla="*/ 316611 h 428625"/>
                <a:gd name="connsiteX101" fmla="*/ 2839498 w 3867150"/>
                <a:gd name="connsiteY101" fmla="*/ 338423 h 428625"/>
                <a:gd name="connsiteX102" fmla="*/ 2896076 w 3867150"/>
                <a:gd name="connsiteY102" fmla="*/ 338423 h 428625"/>
                <a:gd name="connsiteX103" fmla="*/ 2928366 w 3867150"/>
                <a:gd name="connsiteY103" fmla="*/ 178784 h 428625"/>
                <a:gd name="connsiteX104" fmla="*/ 2930652 w 3867150"/>
                <a:gd name="connsiteY104" fmla="*/ 156877 h 428625"/>
                <a:gd name="connsiteX105" fmla="*/ 2697766 w 3867150"/>
                <a:gd name="connsiteY105" fmla="*/ 0 h 428625"/>
                <a:gd name="connsiteX106" fmla="*/ 2638806 w 3867150"/>
                <a:gd name="connsiteY106" fmla="*/ 0 h 428625"/>
                <a:gd name="connsiteX107" fmla="*/ 2586133 w 3867150"/>
                <a:gd name="connsiteY107" fmla="*/ 264223 h 428625"/>
                <a:gd name="connsiteX108" fmla="*/ 2584228 w 3867150"/>
                <a:gd name="connsiteY108" fmla="*/ 284702 h 428625"/>
                <a:gd name="connsiteX109" fmla="*/ 2643569 w 3867150"/>
                <a:gd name="connsiteY109" fmla="*/ 338328 h 428625"/>
                <a:gd name="connsiteX110" fmla="*/ 2675858 w 3867150"/>
                <a:gd name="connsiteY110" fmla="*/ 338328 h 428625"/>
                <a:gd name="connsiteX111" fmla="*/ 2685860 w 3867150"/>
                <a:gd name="connsiteY111" fmla="*/ 288512 h 428625"/>
                <a:gd name="connsiteX112" fmla="*/ 2661666 w 3867150"/>
                <a:gd name="connsiteY112" fmla="*/ 288512 h 428625"/>
                <a:gd name="connsiteX113" fmla="*/ 2643569 w 3867150"/>
                <a:gd name="connsiteY113" fmla="*/ 274225 h 428625"/>
                <a:gd name="connsiteX114" fmla="*/ 2644997 w 3867150"/>
                <a:gd name="connsiteY114" fmla="*/ 263747 h 428625"/>
                <a:gd name="connsiteX115" fmla="*/ 2697766 w 3867150"/>
                <a:gd name="connsiteY115" fmla="*/ 0 h 428625"/>
                <a:gd name="connsiteX116" fmla="*/ 2514791 w 3867150"/>
                <a:gd name="connsiteY116" fmla="*/ 94583 h 428625"/>
                <a:gd name="connsiteX117" fmla="*/ 2455355 w 3867150"/>
                <a:gd name="connsiteY117" fmla="*/ 151638 h 428625"/>
                <a:gd name="connsiteX118" fmla="*/ 2399253 w 3867150"/>
                <a:gd name="connsiteY118" fmla="*/ 151638 h 428625"/>
                <a:gd name="connsiteX119" fmla="*/ 2418779 w 3867150"/>
                <a:gd name="connsiteY119" fmla="*/ 55531 h 428625"/>
                <a:gd name="connsiteX120" fmla="*/ 2476786 w 3867150"/>
                <a:gd name="connsiteY120" fmla="*/ 55531 h 428625"/>
                <a:gd name="connsiteX121" fmla="*/ 2514791 w 3867150"/>
                <a:gd name="connsiteY121" fmla="*/ 94583 h 428625"/>
                <a:gd name="connsiteX122" fmla="*/ 2578037 w 3867150"/>
                <a:gd name="connsiteY122" fmla="*/ 89345 h 428625"/>
                <a:gd name="connsiteX123" fmla="*/ 2487359 w 3867150"/>
                <a:gd name="connsiteY123" fmla="*/ 0 h 428625"/>
                <a:gd name="connsiteX124" fmla="*/ 2367058 w 3867150"/>
                <a:gd name="connsiteY124" fmla="*/ 0 h 428625"/>
                <a:gd name="connsiteX125" fmla="*/ 2299049 w 3867150"/>
                <a:gd name="connsiteY125" fmla="*/ 338328 h 428625"/>
                <a:gd name="connsiteX126" fmla="*/ 2361819 w 3867150"/>
                <a:gd name="connsiteY126" fmla="*/ 338328 h 428625"/>
                <a:gd name="connsiteX127" fmla="*/ 2387918 w 3867150"/>
                <a:gd name="connsiteY127" fmla="*/ 207169 h 428625"/>
                <a:gd name="connsiteX128" fmla="*/ 2453069 w 3867150"/>
                <a:gd name="connsiteY128" fmla="*/ 207169 h 428625"/>
                <a:gd name="connsiteX129" fmla="*/ 2578037 w 3867150"/>
                <a:gd name="connsiteY129" fmla="*/ 89345 h 428625"/>
                <a:gd name="connsiteX130" fmla="*/ 2105501 w 3867150"/>
                <a:gd name="connsiteY130" fmla="*/ 173546 h 428625"/>
                <a:gd name="connsiteX131" fmla="*/ 2101215 w 3867150"/>
                <a:gd name="connsiteY131" fmla="*/ 207740 h 428625"/>
                <a:gd name="connsiteX132" fmla="*/ 2048923 w 3867150"/>
                <a:gd name="connsiteY132" fmla="*/ 275272 h 428625"/>
                <a:gd name="connsiteX133" fmla="*/ 2019490 w 3867150"/>
                <a:gd name="connsiteY133" fmla="*/ 242506 h 428625"/>
                <a:gd name="connsiteX134" fmla="*/ 2023777 w 3867150"/>
                <a:gd name="connsiteY134" fmla="*/ 208312 h 428625"/>
                <a:gd name="connsiteX135" fmla="*/ 2076069 w 3867150"/>
                <a:gd name="connsiteY135" fmla="*/ 140779 h 428625"/>
                <a:gd name="connsiteX136" fmla="*/ 2105501 w 3867150"/>
                <a:gd name="connsiteY136" fmla="*/ 173546 h 428625"/>
                <a:gd name="connsiteX137" fmla="*/ 2105501 w 3867150"/>
                <a:gd name="connsiteY137" fmla="*/ 173546 h 428625"/>
                <a:gd name="connsiteX138" fmla="*/ 2183035 w 3867150"/>
                <a:gd name="connsiteY138" fmla="*/ 90773 h 428625"/>
                <a:gd name="connsiteX139" fmla="*/ 2125980 w 3867150"/>
                <a:gd name="connsiteY139" fmla="*/ 90773 h 428625"/>
                <a:gd name="connsiteX140" fmla="*/ 2121218 w 3867150"/>
                <a:gd name="connsiteY140" fmla="*/ 115919 h 428625"/>
                <a:gd name="connsiteX141" fmla="*/ 2065115 w 3867150"/>
                <a:gd name="connsiteY141" fmla="*/ 87821 h 428625"/>
                <a:gd name="connsiteX142" fmla="*/ 2001964 w 3867150"/>
                <a:gd name="connsiteY142" fmla="*/ 112490 h 428625"/>
                <a:gd name="connsiteX143" fmla="*/ 1964912 w 3867150"/>
                <a:gd name="connsiteY143" fmla="*/ 207550 h 428625"/>
                <a:gd name="connsiteX144" fmla="*/ 1958721 w 3867150"/>
                <a:gd name="connsiteY144" fmla="*/ 257937 h 428625"/>
                <a:gd name="connsiteX145" fmla="*/ 2027111 w 3867150"/>
                <a:gd name="connsiteY145" fmla="*/ 327755 h 428625"/>
                <a:gd name="connsiteX146" fmla="*/ 2082260 w 3867150"/>
                <a:gd name="connsiteY146" fmla="*/ 303086 h 428625"/>
                <a:gd name="connsiteX147" fmla="*/ 2077022 w 3867150"/>
                <a:gd name="connsiteY147" fmla="*/ 328231 h 428625"/>
                <a:gd name="connsiteX148" fmla="*/ 2016633 w 3867150"/>
                <a:gd name="connsiteY148" fmla="*/ 381953 h 428625"/>
                <a:gd name="connsiteX149" fmla="*/ 1975295 w 3867150"/>
                <a:gd name="connsiteY149" fmla="*/ 362426 h 428625"/>
                <a:gd name="connsiteX150" fmla="*/ 1934432 w 3867150"/>
                <a:gd name="connsiteY150" fmla="*/ 398050 h 428625"/>
                <a:gd name="connsiteX151" fmla="*/ 2016633 w 3867150"/>
                <a:gd name="connsiteY151" fmla="*/ 431768 h 428625"/>
                <a:gd name="connsiteX152" fmla="*/ 2135505 w 3867150"/>
                <a:gd name="connsiteY152" fmla="*/ 328613 h 428625"/>
                <a:gd name="connsiteX153" fmla="*/ 2183035 w 3867150"/>
                <a:gd name="connsiteY153" fmla="*/ 90773 h 428625"/>
                <a:gd name="connsiteX154" fmla="*/ 1924431 w 3867150"/>
                <a:gd name="connsiteY154" fmla="*/ 156305 h 428625"/>
                <a:gd name="connsiteX155" fmla="*/ 1861280 w 3867150"/>
                <a:gd name="connsiteY155" fmla="*/ 87916 h 428625"/>
                <a:gd name="connsiteX156" fmla="*/ 1796129 w 3867150"/>
                <a:gd name="connsiteY156" fmla="*/ 114490 h 428625"/>
                <a:gd name="connsiteX157" fmla="*/ 1800415 w 3867150"/>
                <a:gd name="connsiteY157" fmla="*/ 90773 h 428625"/>
                <a:gd name="connsiteX158" fmla="*/ 1743837 w 3867150"/>
                <a:gd name="connsiteY158" fmla="*/ 90773 h 428625"/>
                <a:gd name="connsiteX159" fmla="*/ 1694402 w 3867150"/>
                <a:gd name="connsiteY159" fmla="*/ 338328 h 428625"/>
                <a:gd name="connsiteX160" fmla="*/ 1753362 w 3867150"/>
                <a:gd name="connsiteY160" fmla="*/ 338328 h 428625"/>
                <a:gd name="connsiteX161" fmla="*/ 1783747 w 3867150"/>
                <a:gd name="connsiteY161" fmla="*/ 188119 h 428625"/>
                <a:gd name="connsiteX162" fmla="*/ 1834134 w 3867150"/>
                <a:gd name="connsiteY162" fmla="*/ 140589 h 428625"/>
                <a:gd name="connsiteX163" fmla="*/ 1863566 w 3867150"/>
                <a:gd name="connsiteY163" fmla="*/ 171450 h 428625"/>
                <a:gd name="connsiteX164" fmla="*/ 1861661 w 3867150"/>
                <a:gd name="connsiteY164" fmla="*/ 187642 h 428625"/>
                <a:gd name="connsiteX165" fmla="*/ 1831277 w 3867150"/>
                <a:gd name="connsiteY165" fmla="*/ 338328 h 428625"/>
                <a:gd name="connsiteX166" fmla="*/ 1890141 w 3867150"/>
                <a:gd name="connsiteY166" fmla="*/ 338328 h 428625"/>
                <a:gd name="connsiteX167" fmla="*/ 1921002 w 3867150"/>
                <a:gd name="connsiteY167" fmla="*/ 183832 h 428625"/>
                <a:gd name="connsiteX168" fmla="*/ 1924431 w 3867150"/>
                <a:gd name="connsiteY168" fmla="*/ 156305 h 428625"/>
                <a:gd name="connsiteX169" fmla="*/ 1702022 w 3867150"/>
                <a:gd name="connsiteY169" fmla="*/ 953 h 428625"/>
                <a:gd name="connsiteX170" fmla="*/ 1641157 w 3867150"/>
                <a:gd name="connsiteY170" fmla="*/ 953 h 428625"/>
                <a:gd name="connsiteX171" fmla="*/ 1631632 w 3867150"/>
                <a:gd name="connsiteY171" fmla="*/ 49816 h 428625"/>
                <a:gd name="connsiteX172" fmla="*/ 1692021 w 3867150"/>
                <a:gd name="connsiteY172" fmla="*/ 49816 h 428625"/>
                <a:gd name="connsiteX173" fmla="*/ 1702022 w 3867150"/>
                <a:gd name="connsiteY173" fmla="*/ 953 h 428625"/>
                <a:gd name="connsiteX174" fmla="*/ 1682115 w 3867150"/>
                <a:gd name="connsiteY174" fmla="*/ 98393 h 428625"/>
                <a:gd name="connsiteX175" fmla="*/ 1623155 w 3867150"/>
                <a:gd name="connsiteY175" fmla="*/ 98393 h 428625"/>
                <a:gd name="connsiteX176" fmla="*/ 1575149 w 3867150"/>
                <a:gd name="connsiteY176" fmla="*/ 338423 h 428625"/>
                <a:gd name="connsiteX177" fmla="*/ 1634109 w 3867150"/>
                <a:gd name="connsiteY177" fmla="*/ 338423 h 428625"/>
                <a:gd name="connsiteX178" fmla="*/ 1682115 w 3867150"/>
                <a:gd name="connsiteY178" fmla="*/ 98393 h 428625"/>
                <a:gd name="connsiteX179" fmla="*/ 1592199 w 3867150"/>
                <a:gd name="connsiteY179" fmla="*/ 111252 h 428625"/>
                <a:gd name="connsiteX180" fmla="*/ 1539431 w 3867150"/>
                <a:gd name="connsiteY180" fmla="*/ 88011 h 428625"/>
                <a:gd name="connsiteX181" fmla="*/ 1476661 w 3867150"/>
                <a:gd name="connsiteY181" fmla="*/ 115062 h 428625"/>
                <a:gd name="connsiteX182" fmla="*/ 1481900 w 3867150"/>
                <a:gd name="connsiteY182" fmla="*/ 90869 h 428625"/>
                <a:gd name="connsiteX183" fmla="*/ 1424845 w 3867150"/>
                <a:gd name="connsiteY183" fmla="*/ 90869 h 428625"/>
                <a:gd name="connsiteX184" fmla="*/ 1375410 w 3867150"/>
                <a:gd name="connsiteY184" fmla="*/ 338423 h 428625"/>
                <a:gd name="connsiteX185" fmla="*/ 1434370 w 3867150"/>
                <a:gd name="connsiteY185" fmla="*/ 338423 h 428625"/>
                <a:gd name="connsiteX186" fmla="*/ 1464278 w 3867150"/>
                <a:gd name="connsiteY186" fmla="*/ 188690 h 428625"/>
                <a:gd name="connsiteX187" fmla="*/ 1514189 w 3867150"/>
                <a:gd name="connsiteY187" fmla="*/ 141161 h 428625"/>
                <a:gd name="connsiteX188" fmla="*/ 1541240 w 3867150"/>
                <a:gd name="connsiteY188" fmla="*/ 156400 h 428625"/>
                <a:gd name="connsiteX189" fmla="*/ 1592199 w 3867150"/>
                <a:gd name="connsiteY189" fmla="*/ 111252 h 428625"/>
                <a:gd name="connsiteX190" fmla="*/ 1298067 w 3867150"/>
                <a:gd name="connsiteY190" fmla="*/ 176308 h 428625"/>
                <a:gd name="connsiteX191" fmla="*/ 1296638 w 3867150"/>
                <a:gd name="connsiteY191" fmla="*/ 192977 h 428625"/>
                <a:gd name="connsiteX192" fmla="*/ 1205770 w 3867150"/>
                <a:gd name="connsiteY192" fmla="*/ 192977 h 428625"/>
                <a:gd name="connsiteX193" fmla="*/ 1262825 w 3867150"/>
                <a:gd name="connsiteY193" fmla="*/ 136303 h 428625"/>
                <a:gd name="connsiteX194" fmla="*/ 1298067 w 3867150"/>
                <a:gd name="connsiteY194" fmla="*/ 176308 h 428625"/>
                <a:gd name="connsiteX195" fmla="*/ 1354074 w 3867150"/>
                <a:gd name="connsiteY195" fmla="*/ 176308 h 428625"/>
                <a:gd name="connsiteX196" fmla="*/ 1266158 w 3867150"/>
                <a:gd name="connsiteY196" fmla="*/ 87916 h 428625"/>
                <a:gd name="connsiteX197" fmla="*/ 1140238 w 3867150"/>
                <a:gd name="connsiteY197" fmla="*/ 254222 h 428625"/>
                <a:gd name="connsiteX198" fmla="*/ 1231964 w 3867150"/>
                <a:gd name="connsiteY198" fmla="*/ 341186 h 428625"/>
                <a:gd name="connsiteX199" fmla="*/ 1328452 w 3867150"/>
                <a:gd name="connsiteY199" fmla="*/ 305086 h 428625"/>
                <a:gd name="connsiteX200" fmla="*/ 1297591 w 3867150"/>
                <a:gd name="connsiteY200" fmla="*/ 266129 h 428625"/>
                <a:gd name="connsiteX201" fmla="*/ 1238631 w 3867150"/>
                <a:gd name="connsiteY201" fmla="*/ 291370 h 428625"/>
                <a:gd name="connsiteX202" fmla="*/ 1196340 w 3867150"/>
                <a:gd name="connsiteY202" fmla="*/ 249936 h 428625"/>
                <a:gd name="connsiteX203" fmla="*/ 1198245 w 3867150"/>
                <a:gd name="connsiteY203" fmla="*/ 232315 h 428625"/>
                <a:gd name="connsiteX204" fmla="*/ 1346549 w 3867150"/>
                <a:gd name="connsiteY204" fmla="*/ 232315 h 428625"/>
                <a:gd name="connsiteX205" fmla="*/ 1354074 w 3867150"/>
                <a:gd name="connsiteY205" fmla="*/ 176308 h 428625"/>
                <a:gd name="connsiteX206" fmla="*/ 1054227 w 3867150"/>
                <a:gd name="connsiteY206" fmla="*/ 176308 h 428625"/>
                <a:gd name="connsiteX207" fmla="*/ 1052798 w 3867150"/>
                <a:gd name="connsiteY207" fmla="*/ 192977 h 428625"/>
                <a:gd name="connsiteX208" fmla="*/ 961930 w 3867150"/>
                <a:gd name="connsiteY208" fmla="*/ 192977 h 428625"/>
                <a:gd name="connsiteX209" fmla="*/ 1018984 w 3867150"/>
                <a:gd name="connsiteY209" fmla="*/ 136303 h 428625"/>
                <a:gd name="connsiteX210" fmla="*/ 1054227 w 3867150"/>
                <a:gd name="connsiteY210" fmla="*/ 176308 h 428625"/>
                <a:gd name="connsiteX211" fmla="*/ 1110234 w 3867150"/>
                <a:gd name="connsiteY211" fmla="*/ 176308 h 428625"/>
                <a:gd name="connsiteX212" fmla="*/ 1022318 w 3867150"/>
                <a:gd name="connsiteY212" fmla="*/ 87916 h 428625"/>
                <a:gd name="connsiteX213" fmla="*/ 896398 w 3867150"/>
                <a:gd name="connsiteY213" fmla="*/ 254222 h 428625"/>
                <a:gd name="connsiteX214" fmla="*/ 988124 w 3867150"/>
                <a:gd name="connsiteY214" fmla="*/ 341186 h 428625"/>
                <a:gd name="connsiteX215" fmla="*/ 1084612 w 3867150"/>
                <a:gd name="connsiteY215" fmla="*/ 305086 h 428625"/>
                <a:gd name="connsiteX216" fmla="*/ 1053751 w 3867150"/>
                <a:gd name="connsiteY216" fmla="*/ 266129 h 428625"/>
                <a:gd name="connsiteX217" fmla="*/ 994791 w 3867150"/>
                <a:gd name="connsiteY217" fmla="*/ 291370 h 428625"/>
                <a:gd name="connsiteX218" fmla="*/ 952500 w 3867150"/>
                <a:gd name="connsiteY218" fmla="*/ 249936 h 428625"/>
                <a:gd name="connsiteX219" fmla="*/ 954405 w 3867150"/>
                <a:gd name="connsiteY219" fmla="*/ 232315 h 428625"/>
                <a:gd name="connsiteX220" fmla="*/ 1102709 w 3867150"/>
                <a:gd name="connsiteY220" fmla="*/ 232315 h 428625"/>
                <a:gd name="connsiteX221" fmla="*/ 1110234 w 3867150"/>
                <a:gd name="connsiteY221" fmla="*/ 176308 h 428625"/>
                <a:gd name="connsiteX222" fmla="*/ 863537 w 3867150"/>
                <a:gd name="connsiteY222" fmla="*/ 156305 h 428625"/>
                <a:gd name="connsiteX223" fmla="*/ 800386 w 3867150"/>
                <a:gd name="connsiteY223" fmla="*/ 87916 h 428625"/>
                <a:gd name="connsiteX224" fmla="*/ 735235 w 3867150"/>
                <a:gd name="connsiteY224" fmla="*/ 114490 h 428625"/>
                <a:gd name="connsiteX225" fmla="*/ 739521 w 3867150"/>
                <a:gd name="connsiteY225" fmla="*/ 90773 h 428625"/>
                <a:gd name="connsiteX226" fmla="*/ 682943 w 3867150"/>
                <a:gd name="connsiteY226" fmla="*/ 90773 h 428625"/>
                <a:gd name="connsiteX227" fmla="*/ 633508 w 3867150"/>
                <a:gd name="connsiteY227" fmla="*/ 338328 h 428625"/>
                <a:gd name="connsiteX228" fmla="*/ 692468 w 3867150"/>
                <a:gd name="connsiteY228" fmla="*/ 338328 h 428625"/>
                <a:gd name="connsiteX229" fmla="*/ 722852 w 3867150"/>
                <a:gd name="connsiteY229" fmla="*/ 188119 h 428625"/>
                <a:gd name="connsiteX230" fmla="*/ 773240 w 3867150"/>
                <a:gd name="connsiteY230" fmla="*/ 140589 h 428625"/>
                <a:gd name="connsiteX231" fmla="*/ 802672 w 3867150"/>
                <a:gd name="connsiteY231" fmla="*/ 171450 h 428625"/>
                <a:gd name="connsiteX232" fmla="*/ 800767 w 3867150"/>
                <a:gd name="connsiteY232" fmla="*/ 187642 h 428625"/>
                <a:gd name="connsiteX233" fmla="*/ 770382 w 3867150"/>
                <a:gd name="connsiteY233" fmla="*/ 338328 h 428625"/>
                <a:gd name="connsiteX234" fmla="*/ 829247 w 3867150"/>
                <a:gd name="connsiteY234" fmla="*/ 338328 h 428625"/>
                <a:gd name="connsiteX235" fmla="*/ 860108 w 3867150"/>
                <a:gd name="connsiteY235" fmla="*/ 183832 h 428625"/>
                <a:gd name="connsiteX236" fmla="*/ 863537 w 3867150"/>
                <a:gd name="connsiteY236" fmla="*/ 156305 h 428625"/>
                <a:gd name="connsiteX237" fmla="*/ 553688 w 3867150"/>
                <a:gd name="connsiteY237" fmla="*/ 176308 h 428625"/>
                <a:gd name="connsiteX238" fmla="*/ 548450 w 3867150"/>
                <a:gd name="connsiteY238" fmla="*/ 214313 h 428625"/>
                <a:gd name="connsiteX239" fmla="*/ 523208 w 3867150"/>
                <a:gd name="connsiteY239" fmla="*/ 276130 h 428625"/>
                <a:gd name="connsiteX240" fmla="*/ 492824 w 3867150"/>
                <a:gd name="connsiteY240" fmla="*/ 288512 h 428625"/>
                <a:gd name="connsiteX241" fmla="*/ 461391 w 3867150"/>
                <a:gd name="connsiteY241" fmla="*/ 252889 h 428625"/>
                <a:gd name="connsiteX242" fmla="*/ 466630 w 3867150"/>
                <a:gd name="connsiteY242" fmla="*/ 214408 h 428625"/>
                <a:gd name="connsiteX243" fmla="*/ 491871 w 3867150"/>
                <a:gd name="connsiteY243" fmla="*/ 153067 h 428625"/>
                <a:gd name="connsiteX244" fmla="*/ 522351 w 3867150"/>
                <a:gd name="connsiteY244" fmla="*/ 140684 h 428625"/>
                <a:gd name="connsiteX245" fmla="*/ 553688 w 3867150"/>
                <a:gd name="connsiteY245" fmla="*/ 176308 h 428625"/>
                <a:gd name="connsiteX246" fmla="*/ 612172 w 3867150"/>
                <a:gd name="connsiteY246" fmla="*/ 169640 h 428625"/>
                <a:gd name="connsiteX247" fmla="*/ 528542 w 3867150"/>
                <a:gd name="connsiteY247" fmla="*/ 87916 h 428625"/>
                <a:gd name="connsiteX248" fmla="*/ 452438 w 3867150"/>
                <a:gd name="connsiteY248" fmla="*/ 116396 h 428625"/>
                <a:gd name="connsiteX249" fmla="*/ 408242 w 3867150"/>
                <a:gd name="connsiteY249" fmla="*/ 214313 h 428625"/>
                <a:gd name="connsiteX250" fmla="*/ 403003 w 3867150"/>
                <a:gd name="connsiteY250" fmla="*/ 259461 h 428625"/>
                <a:gd name="connsiteX251" fmla="*/ 487109 w 3867150"/>
                <a:gd name="connsiteY251" fmla="*/ 341186 h 428625"/>
                <a:gd name="connsiteX252" fmla="*/ 563213 w 3867150"/>
                <a:gd name="connsiteY252" fmla="*/ 312706 h 428625"/>
                <a:gd name="connsiteX253" fmla="*/ 607409 w 3867150"/>
                <a:gd name="connsiteY253" fmla="*/ 214313 h 428625"/>
                <a:gd name="connsiteX254" fmla="*/ 612172 w 3867150"/>
                <a:gd name="connsiteY254" fmla="*/ 169640 h 428625"/>
                <a:gd name="connsiteX255" fmla="*/ 401098 w 3867150"/>
                <a:gd name="connsiteY255" fmla="*/ 953 h 428625"/>
                <a:gd name="connsiteX256" fmla="*/ 340233 w 3867150"/>
                <a:gd name="connsiteY256" fmla="*/ 953 h 428625"/>
                <a:gd name="connsiteX257" fmla="*/ 330708 w 3867150"/>
                <a:gd name="connsiteY257" fmla="*/ 49816 h 428625"/>
                <a:gd name="connsiteX258" fmla="*/ 391096 w 3867150"/>
                <a:gd name="connsiteY258" fmla="*/ 49816 h 428625"/>
                <a:gd name="connsiteX259" fmla="*/ 401098 w 3867150"/>
                <a:gd name="connsiteY259" fmla="*/ 953 h 428625"/>
                <a:gd name="connsiteX260" fmla="*/ 381191 w 3867150"/>
                <a:gd name="connsiteY260" fmla="*/ 98393 h 428625"/>
                <a:gd name="connsiteX261" fmla="*/ 322231 w 3867150"/>
                <a:gd name="connsiteY261" fmla="*/ 98393 h 428625"/>
                <a:gd name="connsiteX262" fmla="*/ 274225 w 3867150"/>
                <a:gd name="connsiteY262" fmla="*/ 338423 h 428625"/>
                <a:gd name="connsiteX263" fmla="*/ 333184 w 3867150"/>
                <a:gd name="connsiteY263" fmla="*/ 338423 h 428625"/>
                <a:gd name="connsiteX264" fmla="*/ 381191 w 3867150"/>
                <a:gd name="connsiteY264" fmla="*/ 98393 h 428625"/>
                <a:gd name="connsiteX265" fmla="*/ 215741 w 3867150"/>
                <a:gd name="connsiteY265" fmla="*/ 94583 h 428625"/>
                <a:gd name="connsiteX266" fmla="*/ 156305 w 3867150"/>
                <a:gd name="connsiteY266" fmla="*/ 151638 h 428625"/>
                <a:gd name="connsiteX267" fmla="*/ 100203 w 3867150"/>
                <a:gd name="connsiteY267" fmla="*/ 151638 h 428625"/>
                <a:gd name="connsiteX268" fmla="*/ 119729 w 3867150"/>
                <a:gd name="connsiteY268" fmla="*/ 55531 h 428625"/>
                <a:gd name="connsiteX269" fmla="*/ 177737 w 3867150"/>
                <a:gd name="connsiteY269" fmla="*/ 55531 h 428625"/>
                <a:gd name="connsiteX270" fmla="*/ 215741 w 3867150"/>
                <a:gd name="connsiteY270" fmla="*/ 94583 h 428625"/>
                <a:gd name="connsiteX271" fmla="*/ 278987 w 3867150"/>
                <a:gd name="connsiteY271" fmla="*/ 89345 h 428625"/>
                <a:gd name="connsiteX272" fmla="*/ 188214 w 3867150"/>
                <a:gd name="connsiteY272" fmla="*/ 0 h 428625"/>
                <a:gd name="connsiteX273" fmla="*/ 68008 w 3867150"/>
                <a:gd name="connsiteY273" fmla="*/ 0 h 428625"/>
                <a:gd name="connsiteX274" fmla="*/ 0 w 3867150"/>
                <a:gd name="connsiteY274" fmla="*/ 338328 h 428625"/>
                <a:gd name="connsiteX275" fmla="*/ 62770 w 3867150"/>
                <a:gd name="connsiteY275" fmla="*/ 338328 h 428625"/>
                <a:gd name="connsiteX276" fmla="*/ 88868 w 3867150"/>
                <a:gd name="connsiteY276" fmla="*/ 207169 h 428625"/>
                <a:gd name="connsiteX277" fmla="*/ 154019 w 3867150"/>
                <a:gd name="connsiteY277" fmla="*/ 207169 h 428625"/>
                <a:gd name="connsiteX278" fmla="*/ 278987 w 3867150"/>
                <a:gd name="connsiteY278" fmla="*/ 89345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3867150" h="428625">
                  <a:moveTo>
                    <a:pt x="3869817" y="118300"/>
                  </a:moveTo>
                  <a:cubicBezTo>
                    <a:pt x="3848481" y="96488"/>
                    <a:pt x="3822764" y="87916"/>
                    <a:pt x="3787617" y="87916"/>
                  </a:cubicBezTo>
                  <a:cubicBezTo>
                    <a:pt x="3752374" y="87916"/>
                    <a:pt x="3723894" y="97917"/>
                    <a:pt x="3705416" y="116396"/>
                  </a:cubicBezTo>
                  <a:cubicBezTo>
                    <a:pt x="3688842" y="132969"/>
                    <a:pt x="3680270" y="155353"/>
                    <a:pt x="3680270" y="178213"/>
                  </a:cubicBezTo>
                  <a:cubicBezTo>
                    <a:pt x="3680270" y="201549"/>
                    <a:pt x="3694462" y="226695"/>
                    <a:pt x="3739610" y="234315"/>
                  </a:cubicBezTo>
                  <a:lnTo>
                    <a:pt x="3771995" y="239554"/>
                  </a:lnTo>
                  <a:cubicBezTo>
                    <a:pt x="3786283" y="241935"/>
                    <a:pt x="3795332" y="246697"/>
                    <a:pt x="3795332" y="260032"/>
                  </a:cubicBezTo>
                  <a:cubicBezTo>
                    <a:pt x="3795332" y="274796"/>
                    <a:pt x="3778663" y="290894"/>
                    <a:pt x="3744944" y="290894"/>
                  </a:cubicBezTo>
                  <a:cubicBezTo>
                    <a:pt x="3716941" y="290894"/>
                    <a:pt x="3700272" y="281369"/>
                    <a:pt x="3687985" y="267081"/>
                  </a:cubicBezTo>
                  <a:lnTo>
                    <a:pt x="3645694" y="304133"/>
                  </a:lnTo>
                  <a:cubicBezTo>
                    <a:pt x="3667601" y="327850"/>
                    <a:pt x="3697034" y="341186"/>
                    <a:pt x="3741135" y="341186"/>
                  </a:cubicBezTo>
                  <a:cubicBezTo>
                    <a:pt x="3773043" y="341186"/>
                    <a:pt x="3807238" y="333565"/>
                    <a:pt x="3827145" y="314134"/>
                  </a:cubicBezTo>
                  <a:cubicBezTo>
                    <a:pt x="3843338" y="298513"/>
                    <a:pt x="3853720" y="278987"/>
                    <a:pt x="3853720" y="254222"/>
                  </a:cubicBezTo>
                  <a:cubicBezTo>
                    <a:pt x="3853720" y="220028"/>
                    <a:pt x="3838004" y="197167"/>
                    <a:pt x="3793903" y="190024"/>
                  </a:cubicBezTo>
                  <a:lnTo>
                    <a:pt x="3761994" y="184785"/>
                  </a:lnTo>
                  <a:cubicBezTo>
                    <a:pt x="3746754" y="182404"/>
                    <a:pt x="3739134" y="176689"/>
                    <a:pt x="3739134" y="166211"/>
                  </a:cubicBezTo>
                  <a:cubicBezTo>
                    <a:pt x="3739134" y="150971"/>
                    <a:pt x="3752469" y="136303"/>
                    <a:pt x="3782377" y="136303"/>
                  </a:cubicBezTo>
                  <a:cubicBezTo>
                    <a:pt x="3799999" y="136303"/>
                    <a:pt x="3818001" y="142018"/>
                    <a:pt x="3829431" y="153924"/>
                  </a:cubicBezTo>
                  <a:lnTo>
                    <a:pt x="3869817" y="118300"/>
                  </a:lnTo>
                  <a:close/>
                  <a:moveTo>
                    <a:pt x="3661220" y="122111"/>
                  </a:moveTo>
                  <a:cubicBezTo>
                    <a:pt x="3646456" y="103156"/>
                    <a:pt x="3624644" y="87916"/>
                    <a:pt x="3588544" y="87916"/>
                  </a:cubicBezTo>
                  <a:cubicBezTo>
                    <a:pt x="3538157" y="87916"/>
                    <a:pt x="3481197" y="113538"/>
                    <a:pt x="3462623" y="214313"/>
                  </a:cubicBezTo>
                  <a:cubicBezTo>
                    <a:pt x="3460242" y="227171"/>
                    <a:pt x="3458813" y="240982"/>
                    <a:pt x="3458813" y="252794"/>
                  </a:cubicBezTo>
                  <a:cubicBezTo>
                    <a:pt x="3458813" y="311277"/>
                    <a:pt x="3500628" y="341186"/>
                    <a:pt x="3547586" y="341186"/>
                  </a:cubicBezTo>
                  <a:cubicBezTo>
                    <a:pt x="3579400" y="341186"/>
                    <a:pt x="3608451" y="329279"/>
                    <a:pt x="3629311" y="309848"/>
                  </a:cubicBezTo>
                  <a:lnTo>
                    <a:pt x="3596545" y="267557"/>
                  </a:lnTo>
                  <a:cubicBezTo>
                    <a:pt x="3582734" y="281369"/>
                    <a:pt x="3569875" y="288512"/>
                    <a:pt x="3553301" y="288512"/>
                  </a:cubicBezTo>
                  <a:cubicBezTo>
                    <a:pt x="3530441" y="288512"/>
                    <a:pt x="3518154" y="272320"/>
                    <a:pt x="3518154" y="246221"/>
                  </a:cubicBezTo>
                  <a:cubicBezTo>
                    <a:pt x="3518154" y="234791"/>
                    <a:pt x="3519583" y="225266"/>
                    <a:pt x="3521488" y="214313"/>
                  </a:cubicBezTo>
                  <a:cubicBezTo>
                    <a:pt x="3525774" y="190976"/>
                    <a:pt x="3534823" y="169640"/>
                    <a:pt x="3547586" y="156305"/>
                  </a:cubicBezTo>
                  <a:cubicBezTo>
                    <a:pt x="3558064" y="145352"/>
                    <a:pt x="3569970" y="140589"/>
                    <a:pt x="3582734" y="140589"/>
                  </a:cubicBezTo>
                  <a:cubicBezTo>
                    <a:pt x="3597497" y="140589"/>
                    <a:pt x="3607499" y="148209"/>
                    <a:pt x="3616928" y="161068"/>
                  </a:cubicBezTo>
                  <a:lnTo>
                    <a:pt x="3661220" y="122111"/>
                  </a:lnTo>
                  <a:close/>
                  <a:moveTo>
                    <a:pt x="3456813" y="953"/>
                  </a:moveTo>
                  <a:lnTo>
                    <a:pt x="3395948" y="953"/>
                  </a:lnTo>
                  <a:lnTo>
                    <a:pt x="3386423" y="49816"/>
                  </a:lnTo>
                  <a:lnTo>
                    <a:pt x="3446812" y="49816"/>
                  </a:lnTo>
                  <a:lnTo>
                    <a:pt x="3456813" y="953"/>
                  </a:lnTo>
                  <a:close/>
                  <a:moveTo>
                    <a:pt x="3436906" y="98393"/>
                  </a:moveTo>
                  <a:lnTo>
                    <a:pt x="3377946" y="98393"/>
                  </a:lnTo>
                  <a:lnTo>
                    <a:pt x="3329940" y="338423"/>
                  </a:lnTo>
                  <a:lnTo>
                    <a:pt x="3388900" y="338423"/>
                  </a:lnTo>
                  <a:lnTo>
                    <a:pt x="3436906" y="98393"/>
                  </a:lnTo>
                  <a:close/>
                  <a:moveTo>
                    <a:pt x="3328035" y="98393"/>
                  </a:moveTo>
                  <a:lnTo>
                    <a:pt x="3287173" y="98393"/>
                  </a:lnTo>
                  <a:lnTo>
                    <a:pt x="3301937" y="24289"/>
                  </a:lnTo>
                  <a:lnTo>
                    <a:pt x="3242977" y="24289"/>
                  </a:lnTo>
                  <a:lnTo>
                    <a:pt x="3228213" y="98393"/>
                  </a:lnTo>
                  <a:lnTo>
                    <a:pt x="3203067" y="98393"/>
                  </a:lnTo>
                  <a:lnTo>
                    <a:pt x="3194019" y="142970"/>
                  </a:lnTo>
                  <a:lnTo>
                    <a:pt x="3219164" y="142970"/>
                  </a:lnTo>
                  <a:lnTo>
                    <a:pt x="3194971" y="264223"/>
                  </a:lnTo>
                  <a:cubicBezTo>
                    <a:pt x="3194019" y="269462"/>
                    <a:pt x="3193066" y="276130"/>
                    <a:pt x="3193066" y="284702"/>
                  </a:cubicBezTo>
                  <a:cubicBezTo>
                    <a:pt x="3193066" y="318421"/>
                    <a:pt x="3218688" y="338328"/>
                    <a:pt x="3252883" y="338328"/>
                  </a:cubicBezTo>
                  <a:lnTo>
                    <a:pt x="3283268" y="338328"/>
                  </a:lnTo>
                  <a:lnTo>
                    <a:pt x="3293269" y="288988"/>
                  </a:lnTo>
                  <a:lnTo>
                    <a:pt x="3271933" y="288988"/>
                  </a:lnTo>
                  <a:cubicBezTo>
                    <a:pt x="3259074" y="288988"/>
                    <a:pt x="3252883" y="283750"/>
                    <a:pt x="3252883" y="273748"/>
                  </a:cubicBezTo>
                  <a:cubicBezTo>
                    <a:pt x="3252883" y="271367"/>
                    <a:pt x="3252883" y="269462"/>
                    <a:pt x="3253836" y="264700"/>
                  </a:cubicBezTo>
                  <a:lnTo>
                    <a:pt x="3278029" y="142970"/>
                  </a:lnTo>
                  <a:lnTo>
                    <a:pt x="3318891" y="142970"/>
                  </a:lnTo>
                  <a:lnTo>
                    <a:pt x="3328035" y="98393"/>
                  </a:lnTo>
                  <a:close/>
                  <a:moveTo>
                    <a:pt x="3163062" y="118300"/>
                  </a:moveTo>
                  <a:cubicBezTo>
                    <a:pt x="3141726" y="96488"/>
                    <a:pt x="3116009" y="87916"/>
                    <a:pt x="3080861" y="87916"/>
                  </a:cubicBezTo>
                  <a:cubicBezTo>
                    <a:pt x="3045619" y="87916"/>
                    <a:pt x="3017139" y="97917"/>
                    <a:pt x="2998565" y="116396"/>
                  </a:cubicBezTo>
                  <a:cubicBezTo>
                    <a:pt x="2981992" y="132969"/>
                    <a:pt x="2973420" y="155353"/>
                    <a:pt x="2973420" y="178213"/>
                  </a:cubicBezTo>
                  <a:cubicBezTo>
                    <a:pt x="2973420" y="201549"/>
                    <a:pt x="2987707" y="226695"/>
                    <a:pt x="3032760" y="234315"/>
                  </a:cubicBezTo>
                  <a:lnTo>
                    <a:pt x="3065145" y="239554"/>
                  </a:lnTo>
                  <a:cubicBezTo>
                    <a:pt x="3079433" y="241935"/>
                    <a:pt x="3088481" y="246697"/>
                    <a:pt x="3088481" y="260032"/>
                  </a:cubicBezTo>
                  <a:cubicBezTo>
                    <a:pt x="3088481" y="274796"/>
                    <a:pt x="3071813" y="290894"/>
                    <a:pt x="3037999" y="290894"/>
                  </a:cubicBezTo>
                  <a:cubicBezTo>
                    <a:pt x="3009995" y="290894"/>
                    <a:pt x="2993327" y="281369"/>
                    <a:pt x="2981039" y="267081"/>
                  </a:cubicBezTo>
                  <a:lnTo>
                    <a:pt x="2938748" y="304133"/>
                  </a:lnTo>
                  <a:cubicBezTo>
                    <a:pt x="2960656" y="327850"/>
                    <a:pt x="2990088" y="341186"/>
                    <a:pt x="3034189" y="341186"/>
                  </a:cubicBezTo>
                  <a:cubicBezTo>
                    <a:pt x="3066098" y="341186"/>
                    <a:pt x="3100292" y="333565"/>
                    <a:pt x="3120295" y="314134"/>
                  </a:cubicBezTo>
                  <a:cubicBezTo>
                    <a:pt x="3136392" y="298513"/>
                    <a:pt x="3146870" y="278987"/>
                    <a:pt x="3146870" y="254222"/>
                  </a:cubicBezTo>
                  <a:cubicBezTo>
                    <a:pt x="3146870" y="220028"/>
                    <a:pt x="3131153" y="197167"/>
                    <a:pt x="3087053" y="190024"/>
                  </a:cubicBezTo>
                  <a:lnTo>
                    <a:pt x="3055144" y="184785"/>
                  </a:lnTo>
                  <a:cubicBezTo>
                    <a:pt x="3039904" y="182404"/>
                    <a:pt x="3032284" y="176689"/>
                    <a:pt x="3032284" y="166211"/>
                  </a:cubicBezTo>
                  <a:cubicBezTo>
                    <a:pt x="3032284" y="150971"/>
                    <a:pt x="3045619" y="136303"/>
                    <a:pt x="3075623" y="136303"/>
                  </a:cubicBezTo>
                  <a:cubicBezTo>
                    <a:pt x="3093244" y="136303"/>
                    <a:pt x="3111246" y="142018"/>
                    <a:pt x="3122676" y="153924"/>
                  </a:cubicBezTo>
                  <a:lnTo>
                    <a:pt x="3163062" y="118300"/>
                  </a:lnTo>
                  <a:close/>
                  <a:moveTo>
                    <a:pt x="2858453" y="231934"/>
                  </a:moveTo>
                  <a:lnTo>
                    <a:pt x="2855595" y="246697"/>
                  </a:lnTo>
                  <a:cubicBezTo>
                    <a:pt x="2853214" y="259080"/>
                    <a:pt x="2848451" y="270415"/>
                    <a:pt x="2840831" y="278035"/>
                  </a:cubicBezTo>
                  <a:cubicBezTo>
                    <a:pt x="2831783" y="287083"/>
                    <a:pt x="2818448" y="293275"/>
                    <a:pt x="2802350" y="293275"/>
                  </a:cubicBezTo>
                  <a:cubicBezTo>
                    <a:pt x="2780919" y="293275"/>
                    <a:pt x="2770918" y="283750"/>
                    <a:pt x="2770918" y="269938"/>
                  </a:cubicBezTo>
                  <a:cubicBezTo>
                    <a:pt x="2770918" y="248031"/>
                    <a:pt x="2786634" y="231838"/>
                    <a:pt x="2813209" y="231838"/>
                  </a:cubicBezTo>
                  <a:lnTo>
                    <a:pt x="2858453" y="231838"/>
                  </a:lnTo>
                  <a:close/>
                  <a:moveTo>
                    <a:pt x="2930652" y="156877"/>
                  </a:moveTo>
                  <a:cubicBezTo>
                    <a:pt x="2930652" y="104108"/>
                    <a:pt x="2884075" y="88011"/>
                    <a:pt x="2842736" y="88011"/>
                  </a:cubicBezTo>
                  <a:cubicBezTo>
                    <a:pt x="2796636" y="88011"/>
                    <a:pt x="2770918" y="100870"/>
                    <a:pt x="2751011" y="121253"/>
                  </a:cubicBezTo>
                  <a:lnTo>
                    <a:pt x="2781395" y="160687"/>
                  </a:lnTo>
                  <a:cubicBezTo>
                    <a:pt x="2793778" y="146875"/>
                    <a:pt x="2810447" y="137350"/>
                    <a:pt x="2834640" y="137350"/>
                  </a:cubicBezTo>
                  <a:cubicBezTo>
                    <a:pt x="2859405" y="137350"/>
                    <a:pt x="2871311" y="147352"/>
                    <a:pt x="2871311" y="164021"/>
                  </a:cubicBezTo>
                  <a:cubicBezTo>
                    <a:pt x="2871311" y="168783"/>
                    <a:pt x="2870835" y="172117"/>
                    <a:pt x="2869883" y="176879"/>
                  </a:cubicBezTo>
                  <a:lnTo>
                    <a:pt x="2866549" y="191643"/>
                  </a:lnTo>
                  <a:lnTo>
                    <a:pt x="2807589" y="191643"/>
                  </a:lnTo>
                  <a:cubicBezTo>
                    <a:pt x="2779014" y="191643"/>
                    <a:pt x="2753868" y="199263"/>
                    <a:pt x="2735390" y="217265"/>
                  </a:cubicBezTo>
                  <a:cubicBezTo>
                    <a:pt x="2721102" y="231457"/>
                    <a:pt x="2713101" y="251460"/>
                    <a:pt x="2713101" y="275749"/>
                  </a:cubicBezTo>
                  <a:cubicBezTo>
                    <a:pt x="2713101" y="313277"/>
                    <a:pt x="2740628" y="340805"/>
                    <a:pt x="2783872" y="340805"/>
                  </a:cubicBezTo>
                  <a:cubicBezTo>
                    <a:pt x="2811018" y="340805"/>
                    <a:pt x="2829973" y="330327"/>
                    <a:pt x="2843784" y="316611"/>
                  </a:cubicBezTo>
                  <a:lnTo>
                    <a:pt x="2839498" y="338423"/>
                  </a:lnTo>
                  <a:lnTo>
                    <a:pt x="2896076" y="338423"/>
                  </a:lnTo>
                  <a:lnTo>
                    <a:pt x="2928366" y="178784"/>
                  </a:lnTo>
                  <a:cubicBezTo>
                    <a:pt x="2929700" y="172021"/>
                    <a:pt x="2930652" y="163544"/>
                    <a:pt x="2930652" y="156877"/>
                  </a:cubicBezTo>
                  <a:moveTo>
                    <a:pt x="2697766" y="0"/>
                  </a:moveTo>
                  <a:lnTo>
                    <a:pt x="2638806" y="0"/>
                  </a:lnTo>
                  <a:lnTo>
                    <a:pt x="2586133" y="264223"/>
                  </a:lnTo>
                  <a:cubicBezTo>
                    <a:pt x="2584704" y="270891"/>
                    <a:pt x="2584228" y="277082"/>
                    <a:pt x="2584228" y="284702"/>
                  </a:cubicBezTo>
                  <a:cubicBezTo>
                    <a:pt x="2584228" y="318421"/>
                    <a:pt x="2609374" y="338328"/>
                    <a:pt x="2643569" y="338328"/>
                  </a:cubicBezTo>
                  <a:lnTo>
                    <a:pt x="2675858" y="338328"/>
                  </a:lnTo>
                  <a:lnTo>
                    <a:pt x="2685860" y="288512"/>
                  </a:lnTo>
                  <a:lnTo>
                    <a:pt x="2661666" y="288512"/>
                  </a:lnTo>
                  <a:cubicBezTo>
                    <a:pt x="2648807" y="288512"/>
                    <a:pt x="2643569" y="283273"/>
                    <a:pt x="2643569" y="274225"/>
                  </a:cubicBezTo>
                  <a:cubicBezTo>
                    <a:pt x="2643569" y="270415"/>
                    <a:pt x="2644045" y="268033"/>
                    <a:pt x="2644997" y="263747"/>
                  </a:cubicBezTo>
                  <a:lnTo>
                    <a:pt x="2697766" y="0"/>
                  </a:lnTo>
                  <a:close/>
                  <a:moveTo>
                    <a:pt x="2514791" y="94583"/>
                  </a:moveTo>
                  <a:cubicBezTo>
                    <a:pt x="2514791" y="120301"/>
                    <a:pt x="2496217" y="151638"/>
                    <a:pt x="2455355" y="151638"/>
                  </a:cubicBezTo>
                  <a:lnTo>
                    <a:pt x="2399253" y="151638"/>
                  </a:lnTo>
                  <a:lnTo>
                    <a:pt x="2418779" y="55531"/>
                  </a:lnTo>
                  <a:lnTo>
                    <a:pt x="2476786" y="55531"/>
                  </a:lnTo>
                  <a:cubicBezTo>
                    <a:pt x="2504885" y="55531"/>
                    <a:pt x="2514791" y="73152"/>
                    <a:pt x="2514791" y="94583"/>
                  </a:cubicBezTo>
                  <a:moveTo>
                    <a:pt x="2578037" y="89345"/>
                  </a:moveTo>
                  <a:cubicBezTo>
                    <a:pt x="2578037" y="36576"/>
                    <a:pt x="2544795" y="0"/>
                    <a:pt x="2487359" y="0"/>
                  </a:cubicBezTo>
                  <a:lnTo>
                    <a:pt x="2367058" y="0"/>
                  </a:lnTo>
                  <a:lnTo>
                    <a:pt x="2299049" y="338328"/>
                  </a:lnTo>
                  <a:lnTo>
                    <a:pt x="2361819" y="338328"/>
                  </a:lnTo>
                  <a:lnTo>
                    <a:pt x="2387918" y="207169"/>
                  </a:lnTo>
                  <a:lnTo>
                    <a:pt x="2453069" y="207169"/>
                  </a:lnTo>
                  <a:cubicBezTo>
                    <a:pt x="2534317" y="207169"/>
                    <a:pt x="2578037" y="149733"/>
                    <a:pt x="2578037" y="89345"/>
                  </a:cubicBezTo>
                  <a:moveTo>
                    <a:pt x="2105501" y="173546"/>
                  </a:moveTo>
                  <a:cubicBezTo>
                    <a:pt x="2105501" y="181165"/>
                    <a:pt x="2104073" y="192596"/>
                    <a:pt x="2101215" y="207740"/>
                  </a:cubicBezTo>
                  <a:cubicBezTo>
                    <a:pt x="2092643" y="252413"/>
                    <a:pt x="2079307" y="275272"/>
                    <a:pt x="2048923" y="275272"/>
                  </a:cubicBezTo>
                  <a:cubicBezTo>
                    <a:pt x="2027111" y="275272"/>
                    <a:pt x="2019490" y="260985"/>
                    <a:pt x="2019490" y="242506"/>
                  </a:cubicBezTo>
                  <a:cubicBezTo>
                    <a:pt x="2019490" y="234887"/>
                    <a:pt x="2020919" y="223456"/>
                    <a:pt x="2023777" y="208312"/>
                  </a:cubicBezTo>
                  <a:cubicBezTo>
                    <a:pt x="2032349" y="163639"/>
                    <a:pt x="2045589" y="140779"/>
                    <a:pt x="2076069" y="140779"/>
                  </a:cubicBezTo>
                  <a:cubicBezTo>
                    <a:pt x="2096072" y="140684"/>
                    <a:pt x="2105501" y="152971"/>
                    <a:pt x="2105501" y="173546"/>
                  </a:cubicBezTo>
                  <a:lnTo>
                    <a:pt x="2105501" y="173546"/>
                  </a:lnTo>
                  <a:close/>
                  <a:moveTo>
                    <a:pt x="2183035" y="90773"/>
                  </a:moveTo>
                  <a:lnTo>
                    <a:pt x="2125980" y="90773"/>
                  </a:lnTo>
                  <a:lnTo>
                    <a:pt x="2121218" y="115919"/>
                  </a:lnTo>
                  <a:cubicBezTo>
                    <a:pt x="2109788" y="97346"/>
                    <a:pt x="2090833" y="87821"/>
                    <a:pt x="2065115" y="87821"/>
                  </a:cubicBezTo>
                  <a:cubicBezTo>
                    <a:pt x="2042827" y="87821"/>
                    <a:pt x="2020443" y="94012"/>
                    <a:pt x="2001964" y="112490"/>
                  </a:cubicBezTo>
                  <a:cubicBezTo>
                    <a:pt x="1983010" y="131445"/>
                    <a:pt x="1973485" y="160020"/>
                    <a:pt x="1964912" y="207550"/>
                  </a:cubicBezTo>
                  <a:cubicBezTo>
                    <a:pt x="1961102" y="228505"/>
                    <a:pt x="1958721" y="246031"/>
                    <a:pt x="1958721" y="257937"/>
                  </a:cubicBezTo>
                  <a:cubicBezTo>
                    <a:pt x="1958721" y="304514"/>
                    <a:pt x="1990535" y="327755"/>
                    <a:pt x="2027111" y="327755"/>
                  </a:cubicBezTo>
                  <a:cubicBezTo>
                    <a:pt x="2051876" y="327755"/>
                    <a:pt x="2069402" y="318230"/>
                    <a:pt x="2082260" y="303086"/>
                  </a:cubicBezTo>
                  <a:lnTo>
                    <a:pt x="2077022" y="328231"/>
                  </a:lnTo>
                  <a:cubicBezTo>
                    <a:pt x="2070354" y="360140"/>
                    <a:pt x="2049494" y="381953"/>
                    <a:pt x="2016633" y="381953"/>
                  </a:cubicBezTo>
                  <a:cubicBezTo>
                    <a:pt x="1993392" y="381953"/>
                    <a:pt x="1982914" y="370999"/>
                    <a:pt x="1975295" y="362426"/>
                  </a:cubicBezTo>
                  <a:lnTo>
                    <a:pt x="1934432" y="398050"/>
                  </a:lnTo>
                  <a:cubicBezTo>
                    <a:pt x="1955387" y="421767"/>
                    <a:pt x="1980533" y="431768"/>
                    <a:pt x="2016633" y="431768"/>
                  </a:cubicBezTo>
                  <a:cubicBezTo>
                    <a:pt x="2073688" y="431768"/>
                    <a:pt x="2121218" y="400907"/>
                    <a:pt x="2135505" y="328613"/>
                  </a:cubicBezTo>
                  <a:lnTo>
                    <a:pt x="2183035" y="90773"/>
                  </a:lnTo>
                  <a:close/>
                  <a:moveTo>
                    <a:pt x="1924431" y="156305"/>
                  </a:moveTo>
                  <a:cubicBezTo>
                    <a:pt x="1924431" y="107347"/>
                    <a:pt x="1890236" y="87916"/>
                    <a:pt x="1861280" y="87916"/>
                  </a:cubicBezTo>
                  <a:cubicBezTo>
                    <a:pt x="1835563" y="87916"/>
                    <a:pt x="1811846" y="97441"/>
                    <a:pt x="1796129" y="114490"/>
                  </a:cubicBezTo>
                  <a:lnTo>
                    <a:pt x="1800415" y="90773"/>
                  </a:lnTo>
                  <a:lnTo>
                    <a:pt x="1743837" y="90773"/>
                  </a:lnTo>
                  <a:lnTo>
                    <a:pt x="1694402" y="338328"/>
                  </a:lnTo>
                  <a:lnTo>
                    <a:pt x="1753362" y="338328"/>
                  </a:lnTo>
                  <a:lnTo>
                    <a:pt x="1783747" y="188119"/>
                  </a:lnTo>
                  <a:cubicBezTo>
                    <a:pt x="1791367" y="149066"/>
                    <a:pt x="1816989" y="140589"/>
                    <a:pt x="1834134" y="140589"/>
                  </a:cubicBezTo>
                  <a:cubicBezTo>
                    <a:pt x="1849374" y="140589"/>
                    <a:pt x="1863566" y="150114"/>
                    <a:pt x="1863566" y="171450"/>
                  </a:cubicBezTo>
                  <a:cubicBezTo>
                    <a:pt x="1863566" y="176213"/>
                    <a:pt x="1862614" y="181928"/>
                    <a:pt x="1861661" y="187642"/>
                  </a:cubicBezTo>
                  <a:lnTo>
                    <a:pt x="1831277" y="338328"/>
                  </a:lnTo>
                  <a:lnTo>
                    <a:pt x="1890141" y="338328"/>
                  </a:lnTo>
                  <a:lnTo>
                    <a:pt x="1921002" y="183832"/>
                  </a:lnTo>
                  <a:cubicBezTo>
                    <a:pt x="1923002" y="175831"/>
                    <a:pt x="1924431" y="165354"/>
                    <a:pt x="1924431" y="156305"/>
                  </a:cubicBezTo>
                  <a:moveTo>
                    <a:pt x="1702022" y="953"/>
                  </a:moveTo>
                  <a:lnTo>
                    <a:pt x="1641157" y="953"/>
                  </a:lnTo>
                  <a:lnTo>
                    <a:pt x="1631632" y="49816"/>
                  </a:lnTo>
                  <a:lnTo>
                    <a:pt x="1692021" y="49816"/>
                  </a:lnTo>
                  <a:lnTo>
                    <a:pt x="1702022" y="953"/>
                  </a:lnTo>
                  <a:close/>
                  <a:moveTo>
                    <a:pt x="1682115" y="98393"/>
                  </a:moveTo>
                  <a:lnTo>
                    <a:pt x="1623155" y="98393"/>
                  </a:lnTo>
                  <a:lnTo>
                    <a:pt x="1575149" y="338423"/>
                  </a:lnTo>
                  <a:lnTo>
                    <a:pt x="1634109" y="338423"/>
                  </a:lnTo>
                  <a:lnTo>
                    <a:pt x="1682115" y="98393"/>
                  </a:lnTo>
                  <a:close/>
                  <a:moveTo>
                    <a:pt x="1592199" y="111252"/>
                  </a:moveTo>
                  <a:cubicBezTo>
                    <a:pt x="1578864" y="95536"/>
                    <a:pt x="1563243" y="88011"/>
                    <a:pt x="1539431" y="88011"/>
                  </a:cubicBezTo>
                  <a:cubicBezTo>
                    <a:pt x="1513713" y="88011"/>
                    <a:pt x="1490472" y="98488"/>
                    <a:pt x="1476661" y="115062"/>
                  </a:cubicBezTo>
                  <a:lnTo>
                    <a:pt x="1481900" y="90869"/>
                  </a:lnTo>
                  <a:lnTo>
                    <a:pt x="1424845" y="90869"/>
                  </a:lnTo>
                  <a:lnTo>
                    <a:pt x="1375410" y="338423"/>
                  </a:lnTo>
                  <a:lnTo>
                    <a:pt x="1434370" y="338423"/>
                  </a:lnTo>
                  <a:lnTo>
                    <a:pt x="1464278" y="188690"/>
                  </a:lnTo>
                  <a:cubicBezTo>
                    <a:pt x="1469993" y="160115"/>
                    <a:pt x="1490853" y="141161"/>
                    <a:pt x="1514189" y="141161"/>
                  </a:cubicBezTo>
                  <a:cubicBezTo>
                    <a:pt x="1527048" y="141161"/>
                    <a:pt x="1535144" y="148304"/>
                    <a:pt x="1541240" y="156400"/>
                  </a:cubicBezTo>
                  <a:lnTo>
                    <a:pt x="1592199" y="111252"/>
                  </a:lnTo>
                  <a:close/>
                  <a:moveTo>
                    <a:pt x="1298067" y="176308"/>
                  </a:moveTo>
                  <a:cubicBezTo>
                    <a:pt x="1298067" y="181546"/>
                    <a:pt x="1297591" y="187738"/>
                    <a:pt x="1296638" y="192977"/>
                  </a:cubicBezTo>
                  <a:lnTo>
                    <a:pt x="1205770" y="192977"/>
                  </a:lnTo>
                  <a:cubicBezTo>
                    <a:pt x="1216724" y="152495"/>
                    <a:pt x="1237679" y="136303"/>
                    <a:pt x="1262825" y="136303"/>
                  </a:cubicBezTo>
                  <a:cubicBezTo>
                    <a:pt x="1283780" y="136398"/>
                    <a:pt x="1298067" y="150209"/>
                    <a:pt x="1298067" y="176308"/>
                  </a:cubicBezTo>
                  <a:moveTo>
                    <a:pt x="1354074" y="176308"/>
                  </a:moveTo>
                  <a:cubicBezTo>
                    <a:pt x="1354074" y="122587"/>
                    <a:pt x="1318451" y="87916"/>
                    <a:pt x="1266158" y="87916"/>
                  </a:cubicBezTo>
                  <a:cubicBezTo>
                    <a:pt x="1180529" y="87916"/>
                    <a:pt x="1140238" y="171069"/>
                    <a:pt x="1140238" y="254222"/>
                  </a:cubicBezTo>
                  <a:cubicBezTo>
                    <a:pt x="1140238" y="319373"/>
                    <a:pt x="1189101" y="341186"/>
                    <a:pt x="1231964" y="341186"/>
                  </a:cubicBezTo>
                  <a:cubicBezTo>
                    <a:pt x="1269111" y="341186"/>
                    <a:pt x="1302830" y="328803"/>
                    <a:pt x="1328452" y="305086"/>
                  </a:cubicBezTo>
                  <a:lnTo>
                    <a:pt x="1297591" y="266129"/>
                  </a:lnTo>
                  <a:cubicBezTo>
                    <a:pt x="1280446" y="282797"/>
                    <a:pt x="1262348" y="291370"/>
                    <a:pt x="1238631" y="291370"/>
                  </a:cubicBezTo>
                  <a:cubicBezTo>
                    <a:pt x="1210056" y="291370"/>
                    <a:pt x="1196340" y="274225"/>
                    <a:pt x="1196340" y="249936"/>
                  </a:cubicBezTo>
                  <a:cubicBezTo>
                    <a:pt x="1196340" y="244221"/>
                    <a:pt x="1197293" y="238030"/>
                    <a:pt x="1198245" y="232315"/>
                  </a:cubicBezTo>
                  <a:lnTo>
                    <a:pt x="1346549" y="232315"/>
                  </a:lnTo>
                  <a:cubicBezTo>
                    <a:pt x="1350740" y="213360"/>
                    <a:pt x="1354074" y="192977"/>
                    <a:pt x="1354074" y="176308"/>
                  </a:cubicBezTo>
                  <a:moveTo>
                    <a:pt x="1054227" y="176308"/>
                  </a:moveTo>
                  <a:cubicBezTo>
                    <a:pt x="1054227" y="181546"/>
                    <a:pt x="1053751" y="187738"/>
                    <a:pt x="1052798" y="192977"/>
                  </a:cubicBezTo>
                  <a:lnTo>
                    <a:pt x="961930" y="192977"/>
                  </a:lnTo>
                  <a:cubicBezTo>
                    <a:pt x="972884" y="152495"/>
                    <a:pt x="993838" y="136303"/>
                    <a:pt x="1018984" y="136303"/>
                  </a:cubicBezTo>
                  <a:cubicBezTo>
                    <a:pt x="1039940" y="136398"/>
                    <a:pt x="1054227" y="150209"/>
                    <a:pt x="1054227" y="176308"/>
                  </a:cubicBezTo>
                  <a:moveTo>
                    <a:pt x="1110234" y="176308"/>
                  </a:moveTo>
                  <a:cubicBezTo>
                    <a:pt x="1110234" y="122587"/>
                    <a:pt x="1074611" y="87916"/>
                    <a:pt x="1022318" y="87916"/>
                  </a:cubicBezTo>
                  <a:cubicBezTo>
                    <a:pt x="936688" y="87916"/>
                    <a:pt x="896398" y="171069"/>
                    <a:pt x="896398" y="254222"/>
                  </a:cubicBezTo>
                  <a:cubicBezTo>
                    <a:pt x="896398" y="319373"/>
                    <a:pt x="945261" y="341186"/>
                    <a:pt x="988124" y="341186"/>
                  </a:cubicBezTo>
                  <a:cubicBezTo>
                    <a:pt x="1025176" y="341186"/>
                    <a:pt x="1058990" y="328803"/>
                    <a:pt x="1084612" y="305086"/>
                  </a:cubicBezTo>
                  <a:lnTo>
                    <a:pt x="1053751" y="266129"/>
                  </a:lnTo>
                  <a:cubicBezTo>
                    <a:pt x="1036606" y="282797"/>
                    <a:pt x="1018604" y="291370"/>
                    <a:pt x="994791" y="291370"/>
                  </a:cubicBezTo>
                  <a:cubicBezTo>
                    <a:pt x="966216" y="291370"/>
                    <a:pt x="952500" y="274225"/>
                    <a:pt x="952500" y="249936"/>
                  </a:cubicBezTo>
                  <a:cubicBezTo>
                    <a:pt x="952500" y="244221"/>
                    <a:pt x="953453" y="238030"/>
                    <a:pt x="954405" y="232315"/>
                  </a:cubicBezTo>
                  <a:lnTo>
                    <a:pt x="1102709" y="232315"/>
                  </a:lnTo>
                  <a:cubicBezTo>
                    <a:pt x="1106900" y="213360"/>
                    <a:pt x="1110234" y="192977"/>
                    <a:pt x="1110234" y="176308"/>
                  </a:cubicBezTo>
                  <a:moveTo>
                    <a:pt x="863537" y="156305"/>
                  </a:moveTo>
                  <a:cubicBezTo>
                    <a:pt x="863537" y="107347"/>
                    <a:pt x="829342" y="87916"/>
                    <a:pt x="800386" y="87916"/>
                  </a:cubicBezTo>
                  <a:cubicBezTo>
                    <a:pt x="774763" y="87916"/>
                    <a:pt x="750951" y="97441"/>
                    <a:pt x="735235" y="114490"/>
                  </a:cubicBezTo>
                  <a:lnTo>
                    <a:pt x="739521" y="90773"/>
                  </a:lnTo>
                  <a:lnTo>
                    <a:pt x="682943" y="90773"/>
                  </a:lnTo>
                  <a:lnTo>
                    <a:pt x="633508" y="338328"/>
                  </a:lnTo>
                  <a:lnTo>
                    <a:pt x="692468" y="338328"/>
                  </a:lnTo>
                  <a:lnTo>
                    <a:pt x="722852" y="188119"/>
                  </a:lnTo>
                  <a:cubicBezTo>
                    <a:pt x="730472" y="149066"/>
                    <a:pt x="756095" y="140589"/>
                    <a:pt x="773240" y="140589"/>
                  </a:cubicBezTo>
                  <a:cubicBezTo>
                    <a:pt x="788480" y="140589"/>
                    <a:pt x="802672" y="150114"/>
                    <a:pt x="802672" y="171450"/>
                  </a:cubicBezTo>
                  <a:cubicBezTo>
                    <a:pt x="802672" y="176213"/>
                    <a:pt x="801719" y="181928"/>
                    <a:pt x="800767" y="187642"/>
                  </a:cubicBezTo>
                  <a:lnTo>
                    <a:pt x="770382" y="338328"/>
                  </a:lnTo>
                  <a:lnTo>
                    <a:pt x="829247" y="338328"/>
                  </a:lnTo>
                  <a:lnTo>
                    <a:pt x="860108" y="183832"/>
                  </a:lnTo>
                  <a:cubicBezTo>
                    <a:pt x="862108" y="175831"/>
                    <a:pt x="863537" y="165354"/>
                    <a:pt x="863537" y="156305"/>
                  </a:cubicBezTo>
                  <a:moveTo>
                    <a:pt x="553688" y="176308"/>
                  </a:moveTo>
                  <a:cubicBezTo>
                    <a:pt x="553688" y="181546"/>
                    <a:pt x="552736" y="193453"/>
                    <a:pt x="548450" y="214313"/>
                  </a:cubicBezTo>
                  <a:cubicBezTo>
                    <a:pt x="542734" y="245269"/>
                    <a:pt x="535115" y="264700"/>
                    <a:pt x="523208" y="276130"/>
                  </a:cubicBezTo>
                  <a:cubicBezTo>
                    <a:pt x="515588" y="283750"/>
                    <a:pt x="505111" y="288512"/>
                    <a:pt x="492824" y="288512"/>
                  </a:cubicBezTo>
                  <a:cubicBezTo>
                    <a:pt x="474250" y="288512"/>
                    <a:pt x="461391" y="276606"/>
                    <a:pt x="461391" y="252889"/>
                  </a:cubicBezTo>
                  <a:cubicBezTo>
                    <a:pt x="461391" y="247174"/>
                    <a:pt x="462344" y="235744"/>
                    <a:pt x="466630" y="214408"/>
                  </a:cubicBezTo>
                  <a:cubicBezTo>
                    <a:pt x="472821" y="184023"/>
                    <a:pt x="479965" y="164497"/>
                    <a:pt x="491871" y="153067"/>
                  </a:cubicBezTo>
                  <a:cubicBezTo>
                    <a:pt x="499491" y="145447"/>
                    <a:pt x="510445" y="140684"/>
                    <a:pt x="522351" y="140684"/>
                  </a:cubicBezTo>
                  <a:cubicBezTo>
                    <a:pt x="540925" y="140684"/>
                    <a:pt x="553688" y="152019"/>
                    <a:pt x="553688" y="176308"/>
                  </a:cubicBezTo>
                  <a:moveTo>
                    <a:pt x="612172" y="169640"/>
                  </a:moveTo>
                  <a:cubicBezTo>
                    <a:pt x="612172" y="112586"/>
                    <a:pt x="569881" y="87916"/>
                    <a:pt x="528542" y="87916"/>
                  </a:cubicBezTo>
                  <a:cubicBezTo>
                    <a:pt x="497110" y="87916"/>
                    <a:pt x="471011" y="98393"/>
                    <a:pt x="452438" y="116396"/>
                  </a:cubicBezTo>
                  <a:cubicBezTo>
                    <a:pt x="430625" y="137255"/>
                    <a:pt x="418719" y="162496"/>
                    <a:pt x="408242" y="214313"/>
                  </a:cubicBezTo>
                  <a:cubicBezTo>
                    <a:pt x="405860" y="225742"/>
                    <a:pt x="403003" y="244316"/>
                    <a:pt x="403003" y="259461"/>
                  </a:cubicBezTo>
                  <a:cubicBezTo>
                    <a:pt x="403003" y="316516"/>
                    <a:pt x="445294" y="341186"/>
                    <a:pt x="487109" y="341186"/>
                  </a:cubicBezTo>
                  <a:cubicBezTo>
                    <a:pt x="518541" y="341186"/>
                    <a:pt x="544163" y="330708"/>
                    <a:pt x="563213" y="312706"/>
                  </a:cubicBezTo>
                  <a:cubicBezTo>
                    <a:pt x="584549" y="291846"/>
                    <a:pt x="596932" y="266605"/>
                    <a:pt x="607409" y="214313"/>
                  </a:cubicBezTo>
                  <a:cubicBezTo>
                    <a:pt x="609314" y="203454"/>
                    <a:pt x="612172" y="184880"/>
                    <a:pt x="612172" y="169640"/>
                  </a:cubicBezTo>
                  <a:moveTo>
                    <a:pt x="401098" y="953"/>
                  </a:moveTo>
                  <a:lnTo>
                    <a:pt x="340233" y="953"/>
                  </a:lnTo>
                  <a:lnTo>
                    <a:pt x="330708" y="49816"/>
                  </a:lnTo>
                  <a:lnTo>
                    <a:pt x="391096" y="49816"/>
                  </a:lnTo>
                  <a:lnTo>
                    <a:pt x="401098" y="953"/>
                  </a:lnTo>
                  <a:close/>
                  <a:moveTo>
                    <a:pt x="381191" y="98393"/>
                  </a:moveTo>
                  <a:lnTo>
                    <a:pt x="322231" y="98393"/>
                  </a:lnTo>
                  <a:lnTo>
                    <a:pt x="274225" y="338423"/>
                  </a:lnTo>
                  <a:lnTo>
                    <a:pt x="333184" y="338423"/>
                  </a:lnTo>
                  <a:lnTo>
                    <a:pt x="381191" y="98393"/>
                  </a:lnTo>
                  <a:close/>
                  <a:moveTo>
                    <a:pt x="215741" y="94583"/>
                  </a:moveTo>
                  <a:cubicBezTo>
                    <a:pt x="215741" y="120301"/>
                    <a:pt x="197167" y="151638"/>
                    <a:pt x="156305" y="151638"/>
                  </a:cubicBezTo>
                  <a:lnTo>
                    <a:pt x="100203" y="151638"/>
                  </a:lnTo>
                  <a:lnTo>
                    <a:pt x="119729" y="55531"/>
                  </a:lnTo>
                  <a:lnTo>
                    <a:pt x="177737" y="55531"/>
                  </a:lnTo>
                  <a:cubicBezTo>
                    <a:pt x="205835" y="55531"/>
                    <a:pt x="215741" y="73152"/>
                    <a:pt x="215741" y="94583"/>
                  </a:cubicBezTo>
                  <a:moveTo>
                    <a:pt x="278987" y="89345"/>
                  </a:moveTo>
                  <a:cubicBezTo>
                    <a:pt x="278987" y="36576"/>
                    <a:pt x="245745" y="0"/>
                    <a:pt x="188214" y="0"/>
                  </a:cubicBezTo>
                  <a:lnTo>
                    <a:pt x="68008" y="0"/>
                  </a:lnTo>
                  <a:lnTo>
                    <a:pt x="0" y="338328"/>
                  </a:lnTo>
                  <a:lnTo>
                    <a:pt x="62770" y="338328"/>
                  </a:lnTo>
                  <a:lnTo>
                    <a:pt x="88868" y="207169"/>
                  </a:lnTo>
                  <a:lnTo>
                    <a:pt x="154019" y="207169"/>
                  </a:lnTo>
                  <a:cubicBezTo>
                    <a:pt x="235267" y="207169"/>
                    <a:pt x="278987" y="149733"/>
                    <a:pt x="278987" y="89345"/>
                  </a:cubicBezTo>
                </a:path>
              </a:pathLst>
            </a:custGeom>
            <a:solidFill>
              <a:srgbClr val="FF83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55A18573-924E-48BD-BB15-4D3653C9EB05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20" name="Linientext 05,60">
              <a:extLst>
                <a:ext uri="{FF2B5EF4-FFF2-40B4-BE49-F238E27FC236}">
                  <a16:creationId xmlns:a16="http://schemas.microsoft.com/office/drawing/2014/main" id="{8750BDA0-2C54-46FC-9D54-14CE97B2FD53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1" name="Hilfslinie 12,10">
              <a:extLst>
                <a:ext uri="{FF2B5EF4-FFF2-40B4-BE49-F238E27FC236}">
                  <a16:creationId xmlns:a16="http://schemas.microsoft.com/office/drawing/2014/main" id="{BDA5F43A-4D68-45F4-A9C2-1E502E385950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Linientext 12,10">
              <a:extLst>
                <a:ext uri="{FF2B5EF4-FFF2-40B4-BE49-F238E27FC236}">
                  <a16:creationId xmlns:a16="http://schemas.microsoft.com/office/drawing/2014/main" id="{BFA46361-0803-4B04-B9B9-747F38946FA5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23" name="Linientext 13,95">
              <a:extLst>
                <a:ext uri="{FF2B5EF4-FFF2-40B4-BE49-F238E27FC236}">
                  <a16:creationId xmlns:a16="http://schemas.microsoft.com/office/drawing/2014/main" id="{D30D0126-BA23-445C-968A-46950CFB456C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24" name="Hilfslinie 13,95">
              <a:extLst>
                <a:ext uri="{FF2B5EF4-FFF2-40B4-BE49-F238E27FC236}">
                  <a16:creationId xmlns:a16="http://schemas.microsoft.com/office/drawing/2014/main" id="{603E4BCC-10C3-44F6-BFAA-2EA3581F31C6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Hilfslinie 12,10">
              <a:extLst>
                <a:ext uri="{FF2B5EF4-FFF2-40B4-BE49-F238E27FC236}">
                  <a16:creationId xmlns:a16="http://schemas.microsoft.com/office/drawing/2014/main" id="{2E09F2EE-7617-4F5D-952A-049170E9B273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Linientext 12,10">
              <a:extLst>
                <a:ext uri="{FF2B5EF4-FFF2-40B4-BE49-F238E27FC236}">
                  <a16:creationId xmlns:a16="http://schemas.microsoft.com/office/drawing/2014/main" id="{8250E460-C2EA-4A30-A417-4A36815B3B4B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27" name="Linientext 13,95">
              <a:extLst>
                <a:ext uri="{FF2B5EF4-FFF2-40B4-BE49-F238E27FC236}">
                  <a16:creationId xmlns:a16="http://schemas.microsoft.com/office/drawing/2014/main" id="{19605517-D3F8-48CB-9CFF-DD2C313D4034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28" name="Hilfslinie 13,95">
              <a:extLst>
                <a:ext uri="{FF2B5EF4-FFF2-40B4-BE49-F238E27FC236}">
                  <a16:creationId xmlns:a16="http://schemas.microsoft.com/office/drawing/2014/main" id="{9E0938A1-D1BD-46AE-8E9A-83D20DAC73A6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Linientext 05,60">
              <a:extLst>
                <a:ext uri="{FF2B5EF4-FFF2-40B4-BE49-F238E27FC236}">
                  <a16:creationId xmlns:a16="http://schemas.microsoft.com/office/drawing/2014/main" id="{2E374B23-2240-4D43-A1FA-61F7371F2A86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0" name="Linientext 05,60">
              <a:extLst>
                <a:ext uri="{FF2B5EF4-FFF2-40B4-BE49-F238E27FC236}">
                  <a16:creationId xmlns:a16="http://schemas.microsoft.com/office/drawing/2014/main" id="{6BD52FC2-8D3A-4D6D-8662-C6C56688AA9D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1" name="Linientext 05,60">
              <a:extLst>
                <a:ext uri="{FF2B5EF4-FFF2-40B4-BE49-F238E27FC236}">
                  <a16:creationId xmlns:a16="http://schemas.microsoft.com/office/drawing/2014/main" id="{F61F8C93-BE97-4FCD-98B9-9233A6E93F3B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2" name="Linientext 05,60">
              <a:extLst>
                <a:ext uri="{FF2B5EF4-FFF2-40B4-BE49-F238E27FC236}">
                  <a16:creationId xmlns:a16="http://schemas.microsoft.com/office/drawing/2014/main" id="{727D74AF-B1F3-43D9-A5FD-D37769DF9B8F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3" name="Hilfslinie 05,60">
              <a:extLst>
                <a:ext uri="{FF2B5EF4-FFF2-40B4-BE49-F238E27FC236}">
                  <a16:creationId xmlns:a16="http://schemas.microsoft.com/office/drawing/2014/main" id="{0858CA7F-9BEF-470E-A100-2D453F926AD6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Hilfslinie 05,60">
              <a:extLst>
                <a:ext uri="{FF2B5EF4-FFF2-40B4-BE49-F238E27FC236}">
                  <a16:creationId xmlns:a16="http://schemas.microsoft.com/office/drawing/2014/main" id="{3C63CAD9-7DD7-4BA2-AC9B-3421A08B890D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Hilfslinie 05,60">
              <a:extLst>
                <a:ext uri="{FF2B5EF4-FFF2-40B4-BE49-F238E27FC236}">
                  <a16:creationId xmlns:a16="http://schemas.microsoft.com/office/drawing/2014/main" id="{2047C3DD-0BB6-4816-B915-7355AFF9F6BD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Hilfslinie 05,60">
              <a:extLst>
                <a:ext uri="{FF2B5EF4-FFF2-40B4-BE49-F238E27FC236}">
                  <a16:creationId xmlns:a16="http://schemas.microsoft.com/office/drawing/2014/main" id="{9A5FC6A4-DE66-4CF4-B9E2-9D7D3A55C0C4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Hilfslinie 05,60">
              <a:extLst>
                <a:ext uri="{FF2B5EF4-FFF2-40B4-BE49-F238E27FC236}">
                  <a16:creationId xmlns:a16="http://schemas.microsoft.com/office/drawing/2014/main" id="{8860AA4D-5B36-40B1-AE64-24138BF528C7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Linientext 05,60">
              <a:extLst>
                <a:ext uri="{FF2B5EF4-FFF2-40B4-BE49-F238E27FC236}">
                  <a16:creationId xmlns:a16="http://schemas.microsoft.com/office/drawing/2014/main" id="{49181C16-CEA1-4240-BD4C-1AC0CFCE698B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4" name="Hilfslinie 05,60">
              <a:extLst>
                <a:ext uri="{FF2B5EF4-FFF2-40B4-BE49-F238E27FC236}">
                  <a16:creationId xmlns:a16="http://schemas.microsoft.com/office/drawing/2014/main" id="{223D64DE-3901-4D7D-8C0F-DAA3EEB38D29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495868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119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5364162" cy="43195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4F5B399-F19C-4CE7-9F3C-13725C0EB23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3950" y="1557338"/>
            <a:ext cx="5364163" cy="43195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DE139732-78C2-4332-A515-778EAA36B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F37D1182-F58B-47FA-8871-FD2DCF78A2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076236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3507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500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5364162" cy="4319587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DE139732-78C2-4332-A515-778EAA36B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68BF45C-C463-4E09-8DFF-8D6698E06A4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03950" y="1557338"/>
            <a:ext cx="5364161" cy="4319587"/>
          </a:xfrm>
          <a:solidFill>
            <a:schemeClr val="accent1"/>
          </a:solidFill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dirty="0"/>
              <a:t>Click on the icon to insert an image</a:t>
            </a:r>
          </a:p>
          <a:p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3F34937-EC0B-40D1-BA9C-757BBB93DE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076236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7829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76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DE139732-78C2-4332-A515-778EAA36B0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68BF45C-C463-4E09-8DFF-8D6698E06A4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3888" y="1557338"/>
            <a:ext cx="5364159" cy="4319587"/>
          </a:xfrm>
          <a:solidFill>
            <a:schemeClr val="accent1"/>
          </a:solidFill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dirty="0"/>
              <a:t>Click on the icon to insert an image</a:t>
            </a:r>
          </a:p>
          <a:p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07FA2FB-49A8-4ECF-B842-81226712D8E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3950" y="1557338"/>
            <a:ext cx="5364163" cy="4319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83AABBB6-9BAD-43FD-9F43-D28088E49A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888" y="6076236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113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876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4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10944222" cy="4319587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5C98477-65D7-407F-BF21-803FE6B13468}"/>
              </a:ext>
            </a:extLst>
          </p:cNvPr>
          <p:cNvGrpSpPr/>
          <p:nvPr userDrawn="1"/>
        </p:nvGrpSpPr>
        <p:grpSpPr>
          <a:xfrm>
            <a:off x="623888" y="6415097"/>
            <a:ext cx="841094" cy="111909"/>
            <a:chOff x="223019" y="5512949"/>
            <a:chExt cx="2540191" cy="337977"/>
          </a:xfrm>
          <a:solidFill>
            <a:schemeClr val="bg1"/>
          </a:solidFill>
        </p:grpSpPr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FC641DD5-0204-40F9-8DF6-9A0F94660A82}"/>
                </a:ext>
              </a:extLst>
            </p:cNvPr>
            <p:cNvSpPr/>
            <p:nvPr/>
          </p:nvSpPr>
          <p:spPr>
            <a:xfrm>
              <a:off x="490471" y="5606744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09763D0-6D94-4C8A-B210-C157EA52D153}"/>
                </a:ext>
              </a:extLst>
            </p:cNvPr>
            <p:cNvSpPr/>
            <p:nvPr/>
          </p:nvSpPr>
          <p:spPr>
            <a:xfrm>
              <a:off x="882599" y="5611914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0DDF6F65-9085-43DD-9C43-AAFACA67BFA3}"/>
                </a:ext>
              </a:extLst>
            </p:cNvPr>
            <p:cNvSpPr/>
            <p:nvPr/>
          </p:nvSpPr>
          <p:spPr>
            <a:xfrm>
              <a:off x="1328017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C52AB039-09FB-4591-9B70-43414F4F0DFB}"/>
                </a:ext>
              </a:extLst>
            </p:cNvPr>
            <p:cNvSpPr/>
            <p:nvPr/>
          </p:nvSpPr>
          <p:spPr>
            <a:xfrm>
              <a:off x="2705755" y="5512949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EF68B8AF-7F0E-4E9F-8C04-33AFA77D8556}"/>
                </a:ext>
              </a:extLst>
            </p:cNvPr>
            <p:cNvSpPr/>
            <p:nvPr/>
          </p:nvSpPr>
          <p:spPr>
            <a:xfrm>
              <a:off x="2427843" y="5606026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DA7EF7DE-6357-4C9F-92E2-8E5CBDA85FA3}"/>
                </a:ext>
              </a:extLst>
            </p:cNvPr>
            <p:cNvSpPr/>
            <p:nvPr/>
          </p:nvSpPr>
          <p:spPr>
            <a:xfrm>
              <a:off x="2651342" y="5614356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E6CC6A00-CFE8-4889-8105-BED1DCD84C2A}"/>
                </a:ext>
              </a:extLst>
            </p:cNvPr>
            <p:cNvSpPr/>
            <p:nvPr/>
          </p:nvSpPr>
          <p:spPr>
            <a:xfrm>
              <a:off x="1914198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A3BDE999-4B91-4E7C-9386-DC316142733C}"/>
                </a:ext>
              </a:extLst>
            </p:cNvPr>
            <p:cNvSpPr/>
            <p:nvPr/>
          </p:nvSpPr>
          <p:spPr>
            <a:xfrm>
              <a:off x="1117732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86F8EA53-C244-42CD-9826-F19F53D3D4E1}"/>
                </a:ext>
              </a:extLst>
            </p:cNvPr>
            <p:cNvSpPr/>
            <p:nvPr/>
          </p:nvSpPr>
          <p:spPr>
            <a:xfrm>
              <a:off x="2154790" y="5521567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B5141D7-2236-49CF-A142-562F5F59B366}"/>
                </a:ext>
              </a:extLst>
            </p:cNvPr>
            <p:cNvSpPr/>
            <p:nvPr/>
          </p:nvSpPr>
          <p:spPr>
            <a:xfrm>
              <a:off x="637269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D4F17652-AD40-4A35-9E1C-84B6B8E29872}"/>
                </a:ext>
              </a:extLst>
            </p:cNvPr>
            <p:cNvSpPr/>
            <p:nvPr/>
          </p:nvSpPr>
          <p:spPr>
            <a:xfrm>
              <a:off x="223019" y="5521567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E7CA389B-70E3-48BD-8065-569037954D1F}"/>
                </a:ext>
              </a:extLst>
            </p:cNvPr>
            <p:cNvSpPr/>
            <p:nvPr/>
          </p:nvSpPr>
          <p:spPr>
            <a:xfrm>
              <a:off x="1579955" y="5521567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063E3296-8D29-465F-BE24-9746AD500090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24" name="Linientext 05,60">
              <a:extLst>
                <a:ext uri="{FF2B5EF4-FFF2-40B4-BE49-F238E27FC236}">
                  <a16:creationId xmlns:a16="http://schemas.microsoft.com/office/drawing/2014/main" id="{0CD8763C-23C2-4CBA-9E7D-2A2175495072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5" name="Hilfslinie 12,10">
              <a:extLst>
                <a:ext uri="{FF2B5EF4-FFF2-40B4-BE49-F238E27FC236}">
                  <a16:creationId xmlns:a16="http://schemas.microsoft.com/office/drawing/2014/main" id="{1321A424-07E7-48C0-A521-D3EEC7BA48A1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Linientext 12,10">
              <a:extLst>
                <a:ext uri="{FF2B5EF4-FFF2-40B4-BE49-F238E27FC236}">
                  <a16:creationId xmlns:a16="http://schemas.microsoft.com/office/drawing/2014/main" id="{37EE6A14-80E1-4AA0-9448-8049B91140E3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41" name="Linientext 13,95">
              <a:extLst>
                <a:ext uri="{FF2B5EF4-FFF2-40B4-BE49-F238E27FC236}">
                  <a16:creationId xmlns:a16="http://schemas.microsoft.com/office/drawing/2014/main" id="{E8451F57-D90A-4159-A1D3-708E9199C348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42" name="Hilfslinie 13,95">
              <a:extLst>
                <a:ext uri="{FF2B5EF4-FFF2-40B4-BE49-F238E27FC236}">
                  <a16:creationId xmlns:a16="http://schemas.microsoft.com/office/drawing/2014/main" id="{0DEA4685-D474-45B4-91CF-A183BC9C605B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Hilfslinie 12,10">
              <a:extLst>
                <a:ext uri="{FF2B5EF4-FFF2-40B4-BE49-F238E27FC236}">
                  <a16:creationId xmlns:a16="http://schemas.microsoft.com/office/drawing/2014/main" id="{56B04E9A-1DC8-4890-8E3A-4452FE48382A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Linientext 12,10">
              <a:extLst>
                <a:ext uri="{FF2B5EF4-FFF2-40B4-BE49-F238E27FC236}">
                  <a16:creationId xmlns:a16="http://schemas.microsoft.com/office/drawing/2014/main" id="{6D9E4F22-32E2-40C7-B1F1-9B842ABB63F8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45" name="Linientext 13,95">
              <a:extLst>
                <a:ext uri="{FF2B5EF4-FFF2-40B4-BE49-F238E27FC236}">
                  <a16:creationId xmlns:a16="http://schemas.microsoft.com/office/drawing/2014/main" id="{335D6542-E2E2-4391-8757-BEA3D8A324C2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46" name="Hilfslinie 13,95">
              <a:extLst>
                <a:ext uri="{FF2B5EF4-FFF2-40B4-BE49-F238E27FC236}">
                  <a16:creationId xmlns:a16="http://schemas.microsoft.com/office/drawing/2014/main" id="{6267122A-65C4-4537-9749-00BB63A61126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Linientext 05,60">
              <a:extLst>
                <a:ext uri="{FF2B5EF4-FFF2-40B4-BE49-F238E27FC236}">
                  <a16:creationId xmlns:a16="http://schemas.microsoft.com/office/drawing/2014/main" id="{136AACE1-416E-4FB5-8875-0BFA73B55F97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8" name="Linientext 05,60">
              <a:extLst>
                <a:ext uri="{FF2B5EF4-FFF2-40B4-BE49-F238E27FC236}">
                  <a16:creationId xmlns:a16="http://schemas.microsoft.com/office/drawing/2014/main" id="{835E391D-CC04-4F7D-854A-A1E70DC570E5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9" name="Linientext 05,60">
              <a:extLst>
                <a:ext uri="{FF2B5EF4-FFF2-40B4-BE49-F238E27FC236}">
                  <a16:creationId xmlns:a16="http://schemas.microsoft.com/office/drawing/2014/main" id="{7F9946C9-F752-499E-92B5-80B30839F955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0" name="Linientext 05,60">
              <a:extLst>
                <a:ext uri="{FF2B5EF4-FFF2-40B4-BE49-F238E27FC236}">
                  <a16:creationId xmlns:a16="http://schemas.microsoft.com/office/drawing/2014/main" id="{47839D4F-FDDF-41E3-9647-DADE68866342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1" name="Hilfslinie 05,60">
              <a:extLst>
                <a:ext uri="{FF2B5EF4-FFF2-40B4-BE49-F238E27FC236}">
                  <a16:creationId xmlns:a16="http://schemas.microsoft.com/office/drawing/2014/main" id="{230E38D8-80E4-40A5-A92F-931706BE3767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Hilfslinie 05,60">
              <a:extLst>
                <a:ext uri="{FF2B5EF4-FFF2-40B4-BE49-F238E27FC236}">
                  <a16:creationId xmlns:a16="http://schemas.microsoft.com/office/drawing/2014/main" id="{DFD3D8B9-B54A-4DCA-9D91-7FE589DD55C0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Hilfslinie 05,60">
              <a:extLst>
                <a:ext uri="{FF2B5EF4-FFF2-40B4-BE49-F238E27FC236}">
                  <a16:creationId xmlns:a16="http://schemas.microsoft.com/office/drawing/2014/main" id="{8B452E68-C4BC-4094-9464-52667CD1C9E5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Hilfslinie 05,60">
              <a:extLst>
                <a:ext uri="{FF2B5EF4-FFF2-40B4-BE49-F238E27FC236}">
                  <a16:creationId xmlns:a16="http://schemas.microsoft.com/office/drawing/2014/main" id="{E64ABC4A-DADF-4E14-8990-F4AD6AD64FF6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Hilfslinie 05,60">
              <a:extLst>
                <a:ext uri="{FF2B5EF4-FFF2-40B4-BE49-F238E27FC236}">
                  <a16:creationId xmlns:a16="http://schemas.microsoft.com/office/drawing/2014/main" id="{DDE4353A-A486-4CA8-B3C4-D7D0D870A699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Linientext 05,60">
              <a:extLst>
                <a:ext uri="{FF2B5EF4-FFF2-40B4-BE49-F238E27FC236}">
                  <a16:creationId xmlns:a16="http://schemas.microsoft.com/office/drawing/2014/main" id="{7894D3BA-1F91-4BA1-92A5-539D963B4B8B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Hilfslinie 05,60">
              <a:extLst>
                <a:ext uri="{FF2B5EF4-FFF2-40B4-BE49-F238E27FC236}">
                  <a16:creationId xmlns:a16="http://schemas.microsoft.com/office/drawing/2014/main" id="{9FD6027F-3483-4080-9B86-B972CEF52649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Foliennummernplatzhalter 3">
            <a:extLst>
              <a:ext uri="{FF2B5EF4-FFF2-40B4-BE49-F238E27FC236}">
                <a16:creationId xmlns:a16="http://schemas.microsoft.com/office/drawing/2014/main" id="{7EE80B46-EC2C-4A5C-94FD-F0C0268380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F57322F8-0078-474C-8F04-1ECB37C1B95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6076236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1" name="Regieanweisung // Allgemein">
            <a:extLst>
              <a:ext uri="{FF2B5EF4-FFF2-40B4-BE49-F238E27FC236}">
                <a16:creationId xmlns:a16="http://schemas.microsoft.com/office/drawing/2014/main" id="{7A2BECC4-7DB5-4EE7-8853-823BBEE5711C}"/>
              </a:ext>
            </a:extLst>
          </p:cNvPr>
          <p:cNvSpPr txBox="1"/>
          <p:nvPr userDrawn="1"/>
        </p:nvSpPr>
        <p:spPr>
          <a:xfrm rot="10800000" flipH="1" flipV="1">
            <a:off x="12345888" y="3580614"/>
            <a:ext cx="1570138" cy="2299842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 vert="horz" wrap="square" lIns="72000" tIns="72000" rIns="72000" bIns="72000" rtlCol="0" anchor="b" anchorCtr="0">
            <a:sp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To insert gridlines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View // Show //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check gridlines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Bring back slide 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to original shape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Slide // Rese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Change Indent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Paragraph //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Left or Right Inden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Change slide layou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Slides // Layout</a:t>
            </a:r>
          </a:p>
        </p:txBody>
      </p:sp>
      <p:sp>
        <p:nvSpPr>
          <p:cNvPr id="60" name="Freihandform: Form 59">
            <a:extLst>
              <a:ext uri="{FF2B5EF4-FFF2-40B4-BE49-F238E27FC236}">
                <a16:creationId xmlns:a16="http://schemas.microsoft.com/office/drawing/2014/main" id="{E76907B0-48B4-4756-8BB3-64B8D4AF5E71}"/>
              </a:ext>
            </a:extLst>
          </p:cNvPr>
          <p:cNvSpPr/>
          <p:nvPr userDrawn="1"/>
        </p:nvSpPr>
        <p:spPr>
          <a:xfrm>
            <a:off x="1796103" y="6422713"/>
            <a:ext cx="1189211" cy="131809"/>
          </a:xfrm>
          <a:custGeom>
            <a:avLst/>
            <a:gdLst>
              <a:gd name="connsiteX0" fmla="*/ 3869817 w 3867150"/>
              <a:gd name="connsiteY0" fmla="*/ 118300 h 428625"/>
              <a:gd name="connsiteX1" fmla="*/ 3787617 w 3867150"/>
              <a:gd name="connsiteY1" fmla="*/ 87916 h 428625"/>
              <a:gd name="connsiteX2" fmla="*/ 3705416 w 3867150"/>
              <a:gd name="connsiteY2" fmla="*/ 116396 h 428625"/>
              <a:gd name="connsiteX3" fmla="*/ 3680270 w 3867150"/>
              <a:gd name="connsiteY3" fmla="*/ 178213 h 428625"/>
              <a:gd name="connsiteX4" fmla="*/ 3739610 w 3867150"/>
              <a:gd name="connsiteY4" fmla="*/ 234315 h 428625"/>
              <a:gd name="connsiteX5" fmla="*/ 3771995 w 3867150"/>
              <a:gd name="connsiteY5" fmla="*/ 239554 h 428625"/>
              <a:gd name="connsiteX6" fmla="*/ 3795332 w 3867150"/>
              <a:gd name="connsiteY6" fmla="*/ 260032 h 428625"/>
              <a:gd name="connsiteX7" fmla="*/ 3744944 w 3867150"/>
              <a:gd name="connsiteY7" fmla="*/ 290894 h 428625"/>
              <a:gd name="connsiteX8" fmla="*/ 3687985 w 3867150"/>
              <a:gd name="connsiteY8" fmla="*/ 267081 h 428625"/>
              <a:gd name="connsiteX9" fmla="*/ 3645694 w 3867150"/>
              <a:gd name="connsiteY9" fmla="*/ 304133 h 428625"/>
              <a:gd name="connsiteX10" fmla="*/ 3741135 w 3867150"/>
              <a:gd name="connsiteY10" fmla="*/ 341186 h 428625"/>
              <a:gd name="connsiteX11" fmla="*/ 3827145 w 3867150"/>
              <a:gd name="connsiteY11" fmla="*/ 314134 h 428625"/>
              <a:gd name="connsiteX12" fmla="*/ 3853720 w 3867150"/>
              <a:gd name="connsiteY12" fmla="*/ 254222 h 428625"/>
              <a:gd name="connsiteX13" fmla="*/ 3793903 w 3867150"/>
              <a:gd name="connsiteY13" fmla="*/ 190024 h 428625"/>
              <a:gd name="connsiteX14" fmla="*/ 3761994 w 3867150"/>
              <a:gd name="connsiteY14" fmla="*/ 184785 h 428625"/>
              <a:gd name="connsiteX15" fmla="*/ 3739134 w 3867150"/>
              <a:gd name="connsiteY15" fmla="*/ 166211 h 428625"/>
              <a:gd name="connsiteX16" fmla="*/ 3782377 w 3867150"/>
              <a:gd name="connsiteY16" fmla="*/ 136303 h 428625"/>
              <a:gd name="connsiteX17" fmla="*/ 3829431 w 3867150"/>
              <a:gd name="connsiteY17" fmla="*/ 153924 h 428625"/>
              <a:gd name="connsiteX18" fmla="*/ 3869817 w 3867150"/>
              <a:gd name="connsiteY18" fmla="*/ 118300 h 428625"/>
              <a:gd name="connsiteX19" fmla="*/ 3661220 w 3867150"/>
              <a:gd name="connsiteY19" fmla="*/ 122111 h 428625"/>
              <a:gd name="connsiteX20" fmla="*/ 3588544 w 3867150"/>
              <a:gd name="connsiteY20" fmla="*/ 87916 h 428625"/>
              <a:gd name="connsiteX21" fmla="*/ 3462623 w 3867150"/>
              <a:gd name="connsiteY21" fmla="*/ 214313 h 428625"/>
              <a:gd name="connsiteX22" fmla="*/ 3458813 w 3867150"/>
              <a:gd name="connsiteY22" fmla="*/ 252794 h 428625"/>
              <a:gd name="connsiteX23" fmla="*/ 3547586 w 3867150"/>
              <a:gd name="connsiteY23" fmla="*/ 341186 h 428625"/>
              <a:gd name="connsiteX24" fmla="*/ 3629311 w 3867150"/>
              <a:gd name="connsiteY24" fmla="*/ 309848 h 428625"/>
              <a:gd name="connsiteX25" fmla="*/ 3596545 w 3867150"/>
              <a:gd name="connsiteY25" fmla="*/ 267557 h 428625"/>
              <a:gd name="connsiteX26" fmla="*/ 3553301 w 3867150"/>
              <a:gd name="connsiteY26" fmla="*/ 288512 h 428625"/>
              <a:gd name="connsiteX27" fmla="*/ 3518154 w 3867150"/>
              <a:gd name="connsiteY27" fmla="*/ 246221 h 428625"/>
              <a:gd name="connsiteX28" fmla="*/ 3521488 w 3867150"/>
              <a:gd name="connsiteY28" fmla="*/ 214313 h 428625"/>
              <a:gd name="connsiteX29" fmla="*/ 3547586 w 3867150"/>
              <a:gd name="connsiteY29" fmla="*/ 156305 h 428625"/>
              <a:gd name="connsiteX30" fmla="*/ 3582734 w 3867150"/>
              <a:gd name="connsiteY30" fmla="*/ 140589 h 428625"/>
              <a:gd name="connsiteX31" fmla="*/ 3616928 w 3867150"/>
              <a:gd name="connsiteY31" fmla="*/ 161068 h 428625"/>
              <a:gd name="connsiteX32" fmla="*/ 3661220 w 3867150"/>
              <a:gd name="connsiteY32" fmla="*/ 122111 h 428625"/>
              <a:gd name="connsiteX33" fmla="*/ 3456813 w 3867150"/>
              <a:gd name="connsiteY33" fmla="*/ 953 h 428625"/>
              <a:gd name="connsiteX34" fmla="*/ 3395948 w 3867150"/>
              <a:gd name="connsiteY34" fmla="*/ 953 h 428625"/>
              <a:gd name="connsiteX35" fmla="*/ 3386423 w 3867150"/>
              <a:gd name="connsiteY35" fmla="*/ 49816 h 428625"/>
              <a:gd name="connsiteX36" fmla="*/ 3446812 w 3867150"/>
              <a:gd name="connsiteY36" fmla="*/ 49816 h 428625"/>
              <a:gd name="connsiteX37" fmla="*/ 3456813 w 3867150"/>
              <a:gd name="connsiteY37" fmla="*/ 953 h 428625"/>
              <a:gd name="connsiteX38" fmla="*/ 3436906 w 3867150"/>
              <a:gd name="connsiteY38" fmla="*/ 98393 h 428625"/>
              <a:gd name="connsiteX39" fmla="*/ 3377946 w 3867150"/>
              <a:gd name="connsiteY39" fmla="*/ 98393 h 428625"/>
              <a:gd name="connsiteX40" fmla="*/ 3329940 w 3867150"/>
              <a:gd name="connsiteY40" fmla="*/ 338423 h 428625"/>
              <a:gd name="connsiteX41" fmla="*/ 3388900 w 3867150"/>
              <a:gd name="connsiteY41" fmla="*/ 338423 h 428625"/>
              <a:gd name="connsiteX42" fmla="*/ 3436906 w 3867150"/>
              <a:gd name="connsiteY42" fmla="*/ 98393 h 428625"/>
              <a:gd name="connsiteX43" fmla="*/ 3328035 w 3867150"/>
              <a:gd name="connsiteY43" fmla="*/ 98393 h 428625"/>
              <a:gd name="connsiteX44" fmla="*/ 3287173 w 3867150"/>
              <a:gd name="connsiteY44" fmla="*/ 98393 h 428625"/>
              <a:gd name="connsiteX45" fmla="*/ 3301937 w 3867150"/>
              <a:gd name="connsiteY45" fmla="*/ 24289 h 428625"/>
              <a:gd name="connsiteX46" fmla="*/ 3242977 w 3867150"/>
              <a:gd name="connsiteY46" fmla="*/ 24289 h 428625"/>
              <a:gd name="connsiteX47" fmla="*/ 3228213 w 3867150"/>
              <a:gd name="connsiteY47" fmla="*/ 98393 h 428625"/>
              <a:gd name="connsiteX48" fmla="*/ 3203067 w 3867150"/>
              <a:gd name="connsiteY48" fmla="*/ 98393 h 428625"/>
              <a:gd name="connsiteX49" fmla="*/ 3194019 w 3867150"/>
              <a:gd name="connsiteY49" fmla="*/ 142970 h 428625"/>
              <a:gd name="connsiteX50" fmla="*/ 3219164 w 3867150"/>
              <a:gd name="connsiteY50" fmla="*/ 142970 h 428625"/>
              <a:gd name="connsiteX51" fmla="*/ 3194971 w 3867150"/>
              <a:gd name="connsiteY51" fmla="*/ 264223 h 428625"/>
              <a:gd name="connsiteX52" fmla="*/ 3193066 w 3867150"/>
              <a:gd name="connsiteY52" fmla="*/ 284702 h 428625"/>
              <a:gd name="connsiteX53" fmla="*/ 3252883 w 3867150"/>
              <a:gd name="connsiteY53" fmla="*/ 338328 h 428625"/>
              <a:gd name="connsiteX54" fmla="*/ 3283268 w 3867150"/>
              <a:gd name="connsiteY54" fmla="*/ 338328 h 428625"/>
              <a:gd name="connsiteX55" fmla="*/ 3293269 w 3867150"/>
              <a:gd name="connsiteY55" fmla="*/ 288988 h 428625"/>
              <a:gd name="connsiteX56" fmla="*/ 3271933 w 3867150"/>
              <a:gd name="connsiteY56" fmla="*/ 288988 h 428625"/>
              <a:gd name="connsiteX57" fmla="*/ 3252883 w 3867150"/>
              <a:gd name="connsiteY57" fmla="*/ 273748 h 428625"/>
              <a:gd name="connsiteX58" fmla="*/ 3253836 w 3867150"/>
              <a:gd name="connsiteY58" fmla="*/ 264700 h 428625"/>
              <a:gd name="connsiteX59" fmla="*/ 3278029 w 3867150"/>
              <a:gd name="connsiteY59" fmla="*/ 142970 h 428625"/>
              <a:gd name="connsiteX60" fmla="*/ 3318891 w 3867150"/>
              <a:gd name="connsiteY60" fmla="*/ 142970 h 428625"/>
              <a:gd name="connsiteX61" fmla="*/ 3328035 w 3867150"/>
              <a:gd name="connsiteY61" fmla="*/ 98393 h 428625"/>
              <a:gd name="connsiteX62" fmla="*/ 3163062 w 3867150"/>
              <a:gd name="connsiteY62" fmla="*/ 118300 h 428625"/>
              <a:gd name="connsiteX63" fmla="*/ 3080861 w 3867150"/>
              <a:gd name="connsiteY63" fmla="*/ 87916 h 428625"/>
              <a:gd name="connsiteX64" fmla="*/ 2998565 w 3867150"/>
              <a:gd name="connsiteY64" fmla="*/ 116396 h 428625"/>
              <a:gd name="connsiteX65" fmla="*/ 2973420 w 3867150"/>
              <a:gd name="connsiteY65" fmla="*/ 178213 h 428625"/>
              <a:gd name="connsiteX66" fmla="*/ 3032760 w 3867150"/>
              <a:gd name="connsiteY66" fmla="*/ 234315 h 428625"/>
              <a:gd name="connsiteX67" fmla="*/ 3065145 w 3867150"/>
              <a:gd name="connsiteY67" fmla="*/ 239554 h 428625"/>
              <a:gd name="connsiteX68" fmla="*/ 3088481 w 3867150"/>
              <a:gd name="connsiteY68" fmla="*/ 260032 h 428625"/>
              <a:gd name="connsiteX69" fmla="*/ 3037999 w 3867150"/>
              <a:gd name="connsiteY69" fmla="*/ 290894 h 428625"/>
              <a:gd name="connsiteX70" fmla="*/ 2981039 w 3867150"/>
              <a:gd name="connsiteY70" fmla="*/ 267081 h 428625"/>
              <a:gd name="connsiteX71" fmla="*/ 2938748 w 3867150"/>
              <a:gd name="connsiteY71" fmla="*/ 304133 h 428625"/>
              <a:gd name="connsiteX72" fmla="*/ 3034189 w 3867150"/>
              <a:gd name="connsiteY72" fmla="*/ 341186 h 428625"/>
              <a:gd name="connsiteX73" fmla="*/ 3120295 w 3867150"/>
              <a:gd name="connsiteY73" fmla="*/ 314134 h 428625"/>
              <a:gd name="connsiteX74" fmla="*/ 3146870 w 3867150"/>
              <a:gd name="connsiteY74" fmla="*/ 254222 h 428625"/>
              <a:gd name="connsiteX75" fmla="*/ 3087053 w 3867150"/>
              <a:gd name="connsiteY75" fmla="*/ 190024 h 428625"/>
              <a:gd name="connsiteX76" fmla="*/ 3055144 w 3867150"/>
              <a:gd name="connsiteY76" fmla="*/ 184785 h 428625"/>
              <a:gd name="connsiteX77" fmla="*/ 3032284 w 3867150"/>
              <a:gd name="connsiteY77" fmla="*/ 166211 h 428625"/>
              <a:gd name="connsiteX78" fmla="*/ 3075623 w 3867150"/>
              <a:gd name="connsiteY78" fmla="*/ 136303 h 428625"/>
              <a:gd name="connsiteX79" fmla="*/ 3122676 w 3867150"/>
              <a:gd name="connsiteY79" fmla="*/ 153924 h 428625"/>
              <a:gd name="connsiteX80" fmla="*/ 3163062 w 3867150"/>
              <a:gd name="connsiteY80" fmla="*/ 118300 h 428625"/>
              <a:gd name="connsiteX81" fmla="*/ 2858453 w 3867150"/>
              <a:gd name="connsiteY81" fmla="*/ 231934 h 428625"/>
              <a:gd name="connsiteX82" fmla="*/ 2855595 w 3867150"/>
              <a:gd name="connsiteY82" fmla="*/ 246697 h 428625"/>
              <a:gd name="connsiteX83" fmla="*/ 2840831 w 3867150"/>
              <a:gd name="connsiteY83" fmla="*/ 278035 h 428625"/>
              <a:gd name="connsiteX84" fmla="*/ 2802350 w 3867150"/>
              <a:gd name="connsiteY84" fmla="*/ 293275 h 428625"/>
              <a:gd name="connsiteX85" fmla="*/ 2770918 w 3867150"/>
              <a:gd name="connsiteY85" fmla="*/ 269938 h 428625"/>
              <a:gd name="connsiteX86" fmla="*/ 2813209 w 3867150"/>
              <a:gd name="connsiteY86" fmla="*/ 231838 h 428625"/>
              <a:gd name="connsiteX87" fmla="*/ 2858453 w 3867150"/>
              <a:gd name="connsiteY87" fmla="*/ 231838 h 428625"/>
              <a:gd name="connsiteX88" fmla="*/ 2930652 w 3867150"/>
              <a:gd name="connsiteY88" fmla="*/ 156877 h 428625"/>
              <a:gd name="connsiteX89" fmla="*/ 2842736 w 3867150"/>
              <a:gd name="connsiteY89" fmla="*/ 88011 h 428625"/>
              <a:gd name="connsiteX90" fmla="*/ 2751011 w 3867150"/>
              <a:gd name="connsiteY90" fmla="*/ 121253 h 428625"/>
              <a:gd name="connsiteX91" fmla="*/ 2781395 w 3867150"/>
              <a:gd name="connsiteY91" fmla="*/ 160687 h 428625"/>
              <a:gd name="connsiteX92" fmla="*/ 2834640 w 3867150"/>
              <a:gd name="connsiteY92" fmla="*/ 137350 h 428625"/>
              <a:gd name="connsiteX93" fmla="*/ 2871311 w 3867150"/>
              <a:gd name="connsiteY93" fmla="*/ 164021 h 428625"/>
              <a:gd name="connsiteX94" fmla="*/ 2869883 w 3867150"/>
              <a:gd name="connsiteY94" fmla="*/ 176879 h 428625"/>
              <a:gd name="connsiteX95" fmla="*/ 2866549 w 3867150"/>
              <a:gd name="connsiteY95" fmla="*/ 191643 h 428625"/>
              <a:gd name="connsiteX96" fmla="*/ 2807589 w 3867150"/>
              <a:gd name="connsiteY96" fmla="*/ 191643 h 428625"/>
              <a:gd name="connsiteX97" fmla="*/ 2735390 w 3867150"/>
              <a:gd name="connsiteY97" fmla="*/ 217265 h 428625"/>
              <a:gd name="connsiteX98" fmla="*/ 2713101 w 3867150"/>
              <a:gd name="connsiteY98" fmla="*/ 275749 h 428625"/>
              <a:gd name="connsiteX99" fmla="*/ 2783872 w 3867150"/>
              <a:gd name="connsiteY99" fmla="*/ 340805 h 428625"/>
              <a:gd name="connsiteX100" fmla="*/ 2843784 w 3867150"/>
              <a:gd name="connsiteY100" fmla="*/ 316611 h 428625"/>
              <a:gd name="connsiteX101" fmla="*/ 2839498 w 3867150"/>
              <a:gd name="connsiteY101" fmla="*/ 338423 h 428625"/>
              <a:gd name="connsiteX102" fmla="*/ 2896076 w 3867150"/>
              <a:gd name="connsiteY102" fmla="*/ 338423 h 428625"/>
              <a:gd name="connsiteX103" fmla="*/ 2928366 w 3867150"/>
              <a:gd name="connsiteY103" fmla="*/ 178784 h 428625"/>
              <a:gd name="connsiteX104" fmla="*/ 2930652 w 3867150"/>
              <a:gd name="connsiteY104" fmla="*/ 156877 h 428625"/>
              <a:gd name="connsiteX105" fmla="*/ 2697766 w 3867150"/>
              <a:gd name="connsiteY105" fmla="*/ 0 h 428625"/>
              <a:gd name="connsiteX106" fmla="*/ 2638806 w 3867150"/>
              <a:gd name="connsiteY106" fmla="*/ 0 h 428625"/>
              <a:gd name="connsiteX107" fmla="*/ 2586133 w 3867150"/>
              <a:gd name="connsiteY107" fmla="*/ 264223 h 428625"/>
              <a:gd name="connsiteX108" fmla="*/ 2584228 w 3867150"/>
              <a:gd name="connsiteY108" fmla="*/ 284702 h 428625"/>
              <a:gd name="connsiteX109" fmla="*/ 2643569 w 3867150"/>
              <a:gd name="connsiteY109" fmla="*/ 338328 h 428625"/>
              <a:gd name="connsiteX110" fmla="*/ 2675858 w 3867150"/>
              <a:gd name="connsiteY110" fmla="*/ 338328 h 428625"/>
              <a:gd name="connsiteX111" fmla="*/ 2685860 w 3867150"/>
              <a:gd name="connsiteY111" fmla="*/ 288512 h 428625"/>
              <a:gd name="connsiteX112" fmla="*/ 2661666 w 3867150"/>
              <a:gd name="connsiteY112" fmla="*/ 288512 h 428625"/>
              <a:gd name="connsiteX113" fmla="*/ 2643569 w 3867150"/>
              <a:gd name="connsiteY113" fmla="*/ 274225 h 428625"/>
              <a:gd name="connsiteX114" fmla="*/ 2644997 w 3867150"/>
              <a:gd name="connsiteY114" fmla="*/ 263747 h 428625"/>
              <a:gd name="connsiteX115" fmla="*/ 2697766 w 3867150"/>
              <a:gd name="connsiteY115" fmla="*/ 0 h 428625"/>
              <a:gd name="connsiteX116" fmla="*/ 2514791 w 3867150"/>
              <a:gd name="connsiteY116" fmla="*/ 94583 h 428625"/>
              <a:gd name="connsiteX117" fmla="*/ 2455355 w 3867150"/>
              <a:gd name="connsiteY117" fmla="*/ 151638 h 428625"/>
              <a:gd name="connsiteX118" fmla="*/ 2399253 w 3867150"/>
              <a:gd name="connsiteY118" fmla="*/ 151638 h 428625"/>
              <a:gd name="connsiteX119" fmla="*/ 2418779 w 3867150"/>
              <a:gd name="connsiteY119" fmla="*/ 55531 h 428625"/>
              <a:gd name="connsiteX120" fmla="*/ 2476786 w 3867150"/>
              <a:gd name="connsiteY120" fmla="*/ 55531 h 428625"/>
              <a:gd name="connsiteX121" fmla="*/ 2514791 w 3867150"/>
              <a:gd name="connsiteY121" fmla="*/ 94583 h 428625"/>
              <a:gd name="connsiteX122" fmla="*/ 2578037 w 3867150"/>
              <a:gd name="connsiteY122" fmla="*/ 89345 h 428625"/>
              <a:gd name="connsiteX123" fmla="*/ 2487359 w 3867150"/>
              <a:gd name="connsiteY123" fmla="*/ 0 h 428625"/>
              <a:gd name="connsiteX124" fmla="*/ 2367058 w 3867150"/>
              <a:gd name="connsiteY124" fmla="*/ 0 h 428625"/>
              <a:gd name="connsiteX125" fmla="*/ 2299049 w 3867150"/>
              <a:gd name="connsiteY125" fmla="*/ 338328 h 428625"/>
              <a:gd name="connsiteX126" fmla="*/ 2361819 w 3867150"/>
              <a:gd name="connsiteY126" fmla="*/ 338328 h 428625"/>
              <a:gd name="connsiteX127" fmla="*/ 2387918 w 3867150"/>
              <a:gd name="connsiteY127" fmla="*/ 207169 h 428625"/>
              <a:gd name="connsiteX128" fmla="*/ 2453069 w 3867150"/>
              <a:gd name="connsiteY128" fmla="*/ 207169 h 428625"/>
              <a:gd name="connsiteX129" fmla="*/ 2578037 w 3867150"/>
              <a:gd name="connsiteY129" fmla="*/ 89345 h 428625"/>
              <a:gd name="connsiteX130" fmla="*/ 2105501 w 3867150"/>
              <a:gd name="connsiteY130" fmla="*/ 173546 h 428625"/>
              <a:gd name="connsiteX131" fmla="*/ 2101215 w 3867150"/>
              <a:gd name="connsiteY131" fmla="*/ 207740 h 428625"/>
              <a:gd name="connsiteX132" fmla="*/ 2048923 w 3867150"/>
              <a:gd name="connsiteY132" fmla="*/ 275272 h 428625"/>
              <a:gd name="connsiteX133" fmla="*/ 2019490 w 3867150"/>
              <a:gd name="connsiteY133" fmla="*/ 242506 h 428625"/>
              <a:gd name="connsiteX134" fmla="*/ 2023777 w 3867150"/>
              <a:gd name="connsiteY134" fmla="*/ 208312 h 428625"/>
              <a:gd name="connsiteX135" fmla="*/ 2076069 w 3867150"/>
              <a:gd name="connsiteY135" fmla="*/ 140779 h 428625"/>
              <a:gd name="connsiteX136" fmla="*/ 2105501 w 3867150"/>
              <a:gd name="connsiteY136" fmla="*/ 173546 h 428625"/>
              <a:gd name="connsiteX137" fmla="*/ 2105501 w 3867150"/>
              <a:gd name="connsiteY137" fmla="*/ 173546 h 428625"/>
              <a:gd name="connsiteX138" fmla="*/ 2183035 w 3867150"/>
              <a:gd name="connsiteY138" fmla="*/ 90773 h 428625"/>
              <a:gd name="connsiteX139" fmla="*/ 2125980 w 3867150"/>
              <a:gd name="connsiteY139" fmla="*/ 90773 h 428625"/>
              <a:gd name="connsiteX140" fmla="*/ 2121218 w 3867150"/>
              <a:gd name="connsiteY140" fmla="*/ 115919 h 428625"/>
              <a:gd name="connsiteX141" fmla="*/ 2065115 w 3867150"/>
              <a:gd name="connsiteY141" fmla="*/ 87821 h 428625"/>
              <a:gd name="connsiteX142" fmla="*/ 2001964 w 3867150"/>
              <a:gd name="connsiteY142" fmla="*/ 112490 h 428625"/>
              <a:gd name="connsiteX143" fmla="*/ 1964912 w 3867150"/>
              <a:gd name="connsiteY143" fmla="*/ 207550 h 428625"/>
              <a:gd name="connsiteX144" fmla="*/ 1958721 w 3867150"/>
              <a:gd name="connsiteY144" fmla="*/ 257937 h 428625"/>
              <a:gd name="connsiteX145" fmla="*/ 2027111 w 3867150"/>
              <a:gd name="connsiteY145" fmla="*/ 327755 h 428625"/>
              <a:gd name="connsiteX146" fmla="*/ 2082260 w 3867150"/>
              <a:gd name="connsiteY146" fmla="*/ 303086 h 428625"/>
              <a:gd name="connsiteX147" fmla="*/ 2077022 w 3867150"/>
              <a:gd name="connsiteY147" fmla="*/ 328231 h 428625"/>
              <a:gd name="connsiteX148" fmla="*/ 2016633 w 3867150"/>
              <a:gd name="connsiteY148" fmla="*/ 381953 h 428625"/>
              <a:gd name="connsiteX149" fmla="*/ 1975295 w 3867150"/>
              <a:gd name="connsiteY149" fmla="*/ 362426 h 428625"/>
              <a:gd name="connsiteX150" fmla="*/ 1934432 w 3867150"/>
              <a:gd name="connsiteY150" fmla="*/ 398050 h 428625"/>
              <a:gd name="connsiteX151" fmla="*/ 2016633 w 3867150"/>
              <a:gd name="connsiteY151" fmla="*/ 431768 h 428625"/>
              <a:gd name="connsiteX152" fmla="*/ 2135505 w 3867150"/>
              <a:gd name="connsiteY152" fmla="*/ 328613 h 428625"/>
              <a:gd name="connsiteX153" fmla="*/ 2183035 w 3867150"/>
              <a:gd name="connsiteY153" fmla="*/ 90773 h 428625"/>
              <a:gd name="connsiteX154" fmla="*/ 1924431 w 3867150"/>
              <a:gd name="connsiteY154" fmla="*/ 156305 h 428625"/>
              <a:gd name="connsiteX155" fmla="*/ 1861280 w 3867150"/>
              <a:gd name="connsiteY155" fmla="*/ 87916 h 428625"/>
              <a:gd name="connsiteX156" fmla="*/ 1796129 w 3867150"/>
              <a:gd name="connsiteY156" fmla="*/ 114490 h 428625"/>
              <a:gd name="connsiteX157" fmla="*/ 1800415 w 3867150"/>
              <a:gd name="connsiteY157" fmla="*/ 90773 h 428625"/>
              <a:gd name="connsiteX158" fmla="*/ 1743837 w 3867150"/>
              <a:gd name="connsiteY158" fmla="*/ 90773 h 428625"/>
              <a:gd name="connsiteX159" fmla="*/ 1694402 w 3867150"/>
              <a:gd name="connsiteY159" fmla="*/ 338328 h 428625"/>
              <a:gd name="connsiteX160" fmla="*/ 1753362 w 3867150"/>
              <a:gd name="connsiteY160" fmla="*/ 338328 h 428625"/>
              <a:gd name="connsiteX161" fmla="*/ 1783747 w 3867150"/>
              <a:gd name="connsiteY161" fmla="*/ 188119 h 428625"/>
              <a:gd name="connsiteX162" fmla="*/ 1834134 w 3867150"/>
              <a:gd name="connsiteY162" fmla="*/ 140589 h 428625"/>
              <a:gd name="connsiteX163" fmla="*/ 1863566 w 3867150"/>
              <a:gd name="connsiteY163" fmla="*/ 171450 h 428625"/>
              <a:gd name="connsiteX164" fmla="*/ 1861661 w 3867150"/>
              <a:gd name="connsiteY164" fmla="*/ 187642 h 428625"/>
              <a:gd name="connsiteX165" fmla="*/ 1831277 w 3867150"/>
              <a:gd name="connsiteY165" fmla="*/ 338328 h 428625"/>
              <a:gd name="connsiteX166" fmla="*/ 1890141 w 3867150"/>
              <a:gd name="connsiteY166" fmla="*/ 338328 h 428625"/>
              <a:gd name="connsiteX167" fmla="*/ 1921002 w 3867150"/>
              <a:gd name="connsiteY167" fmla="*/ 183832 h 428625"/>
              <a:gd name="connsiteX168" fmla="*/ 1924431 w 3867150"/>
              <a:gd name="connsiteY168" fmla="*/ 156305 h 428625"/>
              <a:gd name="connsiteX169" fmla="*/ 1702022 w 3867150"/>
              <a:gd name="connsiteY169" fmla="*/ 953 h 428625"/>
              <a:gd name="connsiteX170" fmla="*/ 1641157 w 3867150"/>
              <a:gd name="connsiteY170" fmla="*/ 953 h 428625"/>
              <a:gd name="connsiteX171" fmla="*/ 1631632 w 3867150"/>
              <a:gd name="connsiteY171" fmla="*/ 49816 h 428625"/>
              <a:gd name="connsiteX172" fmla="*/ 1692021 w 3867150"/>
              <a:gd name="connsiteY172" fmla="*/ 49816 h 428625"/>
              <a:gd name="connsiteX173" fmla="*/ 1702022 w 3867150"/>
              <a:gd name="connsiteY173" fmla="*/ 953 h 428625"/>
              <a:gd name="connsiteX174" fmla="*/ 1682115 w 3867150"/>
              <a:gd name="connsiteY174" fmla="*/ 98393 h 428625"/>
              <a:gd name="connsiteX175" fmla="*/ 1623155 w 3867150"/>
              <a:gd name="connsiteY175" fmla="*/ 98393 h 428625"/>
              <a:gd name="connsiteX176" fmla="*/ 1575149 w 3867150"/>
              <a:gd name="connsiteY176" fmla="*/ 338423 h 428625"/>
              <a:gd name="connsiteX177" fmla="*/ 1634109 w 3867150"/>
              <a:gd name="connsiteY177" fmla="*/ 338423 h 428625"/>
              <a:gd name="connsiteX178" fmla="*/ 1682115 w 3867150"/>
              <a:gd name="connsiteY178" fmla="*/ 98393 h 428625"/>
              <a:gd name="connsiteX179" fmla="*/ 1592199 w 3867150"/>
              <a:gd name="connsiteY179" fmla="*/ 111252 h 428625"/>
              <a:gd name="connsiteX180" fmla="*/ 1539431 w 3867150"/>
              <a:gd name="connsiteY180" fmla="*/ 88011 h 428625"/>
              <a:gd name="connsiteX181" fmla="*/ 1476661 w 3867150"/>
              <a:gd name="connsiteY181" fmla="*/ 115062 h 428625"/>
              <a:gd name="connsiteX182" fmla="*/ 1481900 w 3867150"/>
              <a:gd name="connsiteY182" fmla="*/ 90869 h 428625"/>
              <a:gd name="connsiteX183" fmla="*/ 1424845 w 3867150"/>
              <a:gd name="connsiteY183" fmla="*/ 90869 h 428625"/>
              <a:gd name="connsiteX184" fmla="*/ 1375410 w 3867150"/>
              <a:gd name="connsiteY184" fmla="*/ 338423 h 428625"/>
              <a:gd name="connsiteX185" fmla="*/ 1434370 w 3867150"/>
              <a:gd name="connsiteY185" fmla="*/ 338423 h 428625"/>
              <a:gd name="connsiteX186" fmla="*/ 1464278 w 3867150"/>
              <a:gd name="connsiteY186" fmla="*/ 188690 h 428625"/>
              <a:gd name="connsiteX187" fmla="*/ 1514189 w 3867150"/>
              <a:gd name="connsiteY187" fmla="*/ 141161 h 428625"/>
              <a:gd name="connsiteX188" fmla="*/ 1541240 w 3867150"/>
              <a:gd name="connsiteY188" fmla="*/ 156400 h 428625"/>
              <a:gd name="connsiteX189" fmla="*/ 1592199 w 3867150"/>
              <a:gd name="connsiteY189" fmla="*/ 111252 h 428625"/>
              <a:gd name="connsiteX190" fmla="*/ 1298067 w 3867150"/>
              <a:gd name="connsiteY190" fmla="*/ 176308 h 428625"/>
              <a:gd name="connsiteX191" fmla="*/ 1296638 w 3867150"/>
              <a:gd name="connsiteY191" fmla="*/ 192977 h 428625"/>
              <a:gd name="connsiteX192" fmla="*/ 1205770 w 3867150"/>
              <a:gd name="connsiteY192" fmla="*/ 192977 h 428625"/>
              <a:gd name="connsiteX193" fmla="*/ 1262825 w 3867150"/>
              <a:gd name="connsiteY193" fmla="*/ 136303 h 428625"/>
              <a:gd name="connsiteX194" fmla="*/ 1298067 w 3867150"/>
              <a:gd name="connsiteY194" fmla="*/ 176308 h 428625"/>
              <a:gd name="connsiteX195" fmla="*/ 1354074 w 3867150"/>
              <a:gd name="connsiteY195" fmla="*/ 176308 h 428625"/>
              <a:gd name="connsiteX196" fmla="*/ 1266158 w 3867150"/>
              <a:gd name="connsiteY196" fmla="*/ 87916 h 428625"/>
              <a:gd name="connsiteX197" fmla="*/ 1140238 w 3867150"/>
              <a:gd name="connsiteY197" fmla="*/ 254222 h 428625"/>
              <a:gd name="connsiteX198" fmla="*/ 1231964 w 3867150"/>
              <a:gd name="connsiteY198" fmla="*/ 341186 h 428625"/>
              <a:gd name="connsiteX199" fmla="*/ 1328452 w 3867150"/>
              <a:gd name="connsiteY199" fmla="*/ 305086 h 428625"/>
              <a:gd name="connsiteX200" fmla="*/ 1297591 w 3867150"/>
              <a:gd name="connsiteY200" fmla="*/ 266129 h 428625"/>
              <a:gd name="connsiteX201" fmla="*/ 1238631 w 3867150"/>
              <a:gd name="connsiteY201" fmla="*/ 291370 h 428625"/>
              <a:gd name="connsiteX202" fmla="*/ 1196340 w 3867150"/>
              <a:gd name="connsiteY202" fmla="*/ 249936 h 428625"/>
              <a:gd name="connsiteX203" fmla="*/ 1198245 w 3867150"/>
              <a:gd name="connsiteY203" fmla="*/ 232315 h 428625"/>
              <a:gd name="connsiteX204" fmla="*/ 1346549 w 3867150"/>
              <a:gd name="connsiteY204" fmla="*/ 232315 h 428625"/>
              <a:gd name="connsiteX205" fmla="*/ 1354074 w 3867150"/>
              <a:gd name="connsiteY205" fmla="*/ 176308 h 428625"/>
              <a:gd name="connsiteX206" fmla="*/ 1054227 w 3867150"/>
              <a:gd name="connsiteY206" fmla="*/ 176308 h 428625"/>
              <a:gd name="connsiteX207" fmla="*/ 1052798 w 3867150"/>
              <a:gd name="connsiteY207" fmla="*/ 192977 h 428625"/>
              <a:gd name="connsiteX208" fmla="*/ 961930 w 3867150"/>
              <a:gd name="connsiteY208" fmla="*/ 192977 h 428625"/>
              <a:gd name="connsiteX209" fmla="*/ 1018984 w 3867150"/>
              <a:gd name="connsiteY209" fmla="*/ 136303 h 428625"/>
              <a:gd name="connsiteX210" fmla="*/ 1054227 w 3867150"/>
              <a:gd name="connsiteY210" fmla="*/ 176308 h 428625"/>
              <a:gd name="connsiteX211" fmla="*/ 1110234 w 3867150"/>
              <a:gd name="connsiteY211" fmla="*/ 176308 h 428625"/>
              <a:gd name="connsiteX212" fmla="*/ 1022318 w 3867150"/>
              <a:gd name="connsiteY212" fmla="*/ 87916 h 428625"/>
              <a:gd name="connsiteX213" fmla="*/ 896398 w 3867150"/>
              <a:gd name="connsiteY213" fmla="*/ 254222 h 428625"/>
              <a:gd name="connsiteX214" fmla="*/ 988124 w 3867150"/>
              <a:gd name="connsiteY214" fmla="*/ 341186 h 428625"/>
              <a:gd name="connsiteX215" fmla="*/ 1084612 w 3867150"/>
              <a:gd name="connsiteY215" fmla="*/ 305086 h 428625"/>
              <a:gd name="connsiteX216" fmla="*/ 1053751 w 3867150"/>
              <a:gd name="connsiteY216" fmla="*/ 266129 h 428625"/>
              <a:gd name="connsiteX217" fmla="*/ 994791 w 3867150"/>
              <a:gd name="connsiteY217" fmla="*/ 291370 h 428625"/>
              <a:gd name="connsiteX218" fmla="*/ 952500 w 3867150"/>
              <a:gd name="connsiteY218" fmla="*/ 249936 h 428625"/>
              <a:gd name="connsiteX219" fmla="*/ 954405 w 3867150"/>
              <a:gd name="connsiteY219" fmla="*/ 232315 h 428625"/>
              <a:gd name="connsiteX220" fmla="*/ 1102709 w 3867150"/>
              <a:gd name="connsiteY220" fmla="*/ 232315 h 428625"/>
              <a:gd name="connsiteX221" fmla="*/ 1110234 w 3867150"/>
              <a:gd name="connsiteY221" fmla="*/ 176308 h 428625"/>
              <a:gd name="connsiteX222" fmla="*/ 863537 w 3867150"/>
              <a:gd name="connsiteY222" fmla="*/ 156305 h 428625"/>
              <a:gd name="connsiteX223" fmla="*/ 800386 w 3867150"/>
              <a:gd name="connsiteY223" fmla="*/ 87916 h 428625"/>
              <a:gd name="connsiteX224" fmla="*/ 735235 w 3867150"/>
              <a:gd name="connsiteY224" fmla="*/ 114490 h 428625"/>
              <a:gd name="connsiteX225" fmla="*/ 739521 w 3867150"/>
              <a:gd name="connsiteY225" fmla="*/ 90773 h 428625"/>
              <a:gd name="connsiteX226" fmla="*/ 682943 w 3867150"/>
              <a:gd name="connsiteY226" fmla="*/ 90773 h 428625"/>
              <a:gd name="connsiteX227" fmla="*/ 633508 w 3867150"/>
              <a:gd name="connsiteY227" fmla="*/ 338328 h 428625"/>
              <a:gd name="connsiteX228" fmla="*/ 692468 w 3867150"/>
              <a:gd name="connsiteY228" fmla="*/ 338328 h 428625"/>
              <a:gd name="connsiteX229" fmla="*/ 722852 w 3867150"/>
              <a:gd name="connsiteY229" fmla="*/ 188119 h 428625"/>
              <a:gd name="connsiteX230" fmla="*/ 773240 w 3867150"/>
              <a:gd name="connsiteY230" fmla="*/ 140589 h 428625"/>
              <a:gd name="connsiteX231" fmla="*/ 802672 w 3867150"/>
              <a:gd name="connsiteY231" fmla="*/ 171450 h 428625"/>
              <a:gd name="connsiteX232" fmla="*/ 800767 w 3867150"/>
              <a:gd name="connsiteY232" fmla="*/ 187642 h 428625"/>
              <a:gd name="connsiteX233" fmla="*/ 770382 w 3867150"/>
              <a:gd name="connsiteY233" fmla="*/ 338328 h 428625"/>
              <a:gd name="connsiteX234" fmla="*/ 829247 w 3867150"/>
              <a:gd name="connsiteY234" fmla="*/ 338328 h 428625"/>
              <a:gd name="connsiteX235" fmla="*/ 860108 w 3867150"/>
              <a:gd name="connsiteY235" fmla="*/ 183832 h 428625"/>
              <a:gd name="connsiteX236" fmla="*/ 863537 w 3867150"/>
              <a:gd name="connsiteY236" fmla="*/ 156305 h 428625"/>
              <a:gd name="connsiteX237" fmla="*/ 553688 w 3867150"/>
              <a:gd name="connsiteY237" fmla="*/ 176308 h 428625"/>
              <a:gd name="connsiteX238" fmla="*/ 548450 w 3867150"/>
              <a:gd name="connsiteY238" fmla="*/ 214313 h 428625"/>
              <a:gd name="connsiteX239" fmla="*/ 523208 w 3867150"/>
              <a:gd name="connsiteY239" fmla="*/ 276130 h 428625"/>
              <a:gd name="connsiteX240" fmla="*/ 492824 w 3867150"/>
              <a:gd name="connsiteY240" fmla="*/ 288512 h 428625"/>
              <a:gd name="connsiteX241" fmla="*/ 461391 w 3867150"/>
              <a:gd name="connsiteY241" fmla="*/ 252889 h 428625"/>
              <a:gd name="connsiteX242" fmla="*/ 466630 w 3867150"/>
              <a:gd name="connsiteY242" fmla="*/ 214408 h 428625"/>
              <a:gd name="connsiteX243" fmla="*/ 491871 w 3867150"/>
              <a:gd name="connsiteY243" fmla="*/ 153067 h 428625"/>
              <a:gd name="connsiteX244" fmla="*/ 522351 w 3867150"/>
              <a:gd name="connsiteY244" fmla="*/ 140684 h 428625"/>
              <a:gd name="connsiteX245" fmla="*/ 553688 w 3867150"/>
              <a:gd name="connsiteY245" fmla="*/ 176308 h 428625"/>
              <a:gd name="connsiteX246" fmla="*/ 612172 w 3867150"/>
              <a:gd name="connsiteY246" fmla="*/ 169640 h 428625"/>
              <a:gd name="connsiteX247" fmla="*/ 528542 w 3867150"/>
              <a:gd name="connsiteY247" fmla="*/ 87916 h 428625"/>
              <a:gd name="connsiteX248" fmla="*/ 452438 w 3867150"/>
              <a:gd name="connsiteY248" fmla="*/ 116396 h 428625"/>
              <a:gd name="connsiteX249" fmla="*/ 408242 w 3867150"/>
              <a:gd name="connsiteY249" fmla="*/ 214313 h 428625"/>
              <a:gd name="connsiteX250" fmla="*/ 403003 w 3867150"/>
              <a:gd name="connsiteY250" fmla="*/ 259461 h 428625"/>
              <a:gd name="connsiteX251" fmla="*/ 487109 w 3867150"/>
              <a:gd name="connsiteY251" fmla="*/ 341186 h 428625"/>
              <a:gd name="connsiteX252" fmla="*/ 563213 w 3867150"/>
              <a:gd name="connsiteY252" fmla="*/ 312706 h 428625"/>
              <a:gd name="connsiteX253" fmla="*/ 607409 w 3867150"/>
              <a:gd name="connsiteY253" fmla="*/ 214313 h 428625"/>
              <a:gd name="connsiteX254" fmla="*/ 612172 w 3867150"/>
              <a:gd name="connsiteY254" fmla="*/ 169640 h 428625"/>
              <a:gd name="connsiteX255" fmla="*/ 401098 w 3867150"/>
              <a:gd name="connsiteY255" fmla="*/ 953 h 428625"/>
              <a:gd name="connsiteX256" fmla="*/ 340233 w 3867150"/>
              <a:gd name="connsiteY256" fmla="*/ 953 h 428625"/>
              <a:gd name="connsiteX257" fmla="*/ 330708 w 3867150"/>
              <a:gd name="connsiteY257" fmla="*/ 49816 h 428625"/>
              <a:gd name="connsiteX258" fmla="*/ 391096 w 3867150"/>
              <a:gd name="connsiteY258" fmla="*/ 49816 h 428625"/>
              <a:gd name="connsiteX259" fmla="*/ 401098 w 3867150"/>
              <a:gd name="connsiteY259" fmla="*/ 953 h 428625"/>
              <a:gd name="connsiteX260" fmla="*/ 381191 w 3867150"/>
              <a:gd name="connsiteY260" fmla="*/ 98393 h 428625"/>
              <a:gd name="connsiteX261" fmla="*/ 322231 w 3867150"/>
              <a:gd name="connsiteY261" fmla="*/ 98393 h 428625"/>
              <a:gd name="connsiteX262" fmla="*/ 274225 w 3867150"/>
              <a:gd name="connsiteY262" fmla="*/ 338423 h 428625"/>
              <a:gd name="connsiteX263" fmla="*/ 333184 w 3867150"/>
              <a:gd name="connsiteY263" fmla="*/ 338423 h 428625"/>
              <a:gd name="connsiteX264" fmla="*/ 381191 w 3867150"/>
              <a:gd name="connsiteY264" fmla="*/ 98393 h 428625"/>
              <a:gd name="connsiteX265" fmla="*/ 215741 w 3867150"/>
              <a:gd name="connsiteY265" fmla="*/ 94583 h 428625"/>
              <a:gd name="connsiteX266" fmla="*/ 156305 w 3867150"/>
              <a:gd name="connsiteY266" fmla="*/ 151638 h 428625"/>
              <a:gd name="connsiteX267" fmla="*/ 100203 w 3867150"/>
              <a:gd name="connsiteY267" fmla="*/ 151638 h 428625"/>
              <a:gd name="connsiteX268" fmla="*/ 119729 w 3867150"/>
              <a:gd name="connsiteY268" fmla="*/ 55531 h 428625"/>
              <a:gd name="connsiteX269" fmla="*/ 177737 w 3867150"/>
              <a:gd name="connsiteY269" fmla="*/ 55531 h 428625"/>
              <a:gd name="connsiteX270" fmla="*/ 215741 w 3867150"/>
              <a:gd name="connsiteY270" fmla="*/ 94583 h 428625"/>
              <a:gd name="connsiteX271" fmla="*/ 278987 w 3867150"/>
              <a:gd name="connsiteY271" fmla="*/ 89345 h 428625"/>
              <a:gd name="connsiteX272" fmla="*/ 188214 w 3867150"/>
              <a:gd name="connsiteY272" fmla="*/ 0 h 428625"/>
              <a:gd name="connsiteX273" fmla="*/ 68008 w 3867150"/>
              <a:gd name="connsiteY273" fmla="*/ 0 h 428625"/>
              <a:gd name="connsiteX274" fmla="*/ 0 w 3867150"/>
              <a:gd name="connsiteY274" fmla="*/ 338328 h 428625"/>
              <a:gd name="connsiteX275" fmla="*/ 62770 w 3867150"/>
              <a:gd name="connsiteY275" fmla="*/ 338328 h 428625"/>
              <a:gd name="connsiteX276" fmla="*/ 88868 w 3867150"/>
              <a:gd name="connsiteY276" fmla="*/ 207169 h 428625"/>
              <a:gd name="connsiteX277" fmla="*/ 154019 w 3867150"/>
              <a:gd name="connsiteY277" fmla="*/ 207169 h 428625"/>
              <a:gd name="connsiteX278" fmla="*/ 278987 w 3867150"/>
              <a:gd name="connsiteY278" fmla="*/ 8934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3867150" h="428625">
                <a:moveTo>
                  <a:pt x="3869817" y="118300"/>
                </a:moveTo>
                <a:cubicBezTo>
                  <a:pt x="3848481" y="96488"/>
                  <a:pt x="3822764" y="87916"/>
                  <a:pt x="3787617" y="87916"/>
                </a:cubicBezTo>
                <a:cubicBezTo>
                  <a:pt x="3752374" y="87916"/>
                  <a:pt x="3723894" y="97917"/>
                  <a:pt x="3705416" y="116396"/>
                </a:cubicBezTo>
                <a:cubicBezTo>
                  <a:pt x="3688842" y="132969"/>
                  <a:pt x="3680270" y="155353"/>
                  <a:pt x="3680270" y="178213"/>
                </a:cubicBezTo>
                <a:cubicBezTo>
                  <a:pt x="3680270" y="201549"/>
                  <a:pt x="3694462" y="226695"/>
                  <a:pt x="3739610" y="234315"/>
                </a:cubicBezTo>
                <a:lnTo>
                  <a:pt x="3771995" y="239554"/>
                </a:lnTo>
                <a:cubicBezTo>
                  <a:pt x="3786283" y="241935"/>
                  <a:pt x="3795332" y="246697"/>
                  <a:pt x="3795332" y="260032"/>
                </a:cubicBezTo>
                <a:cubicBezTo>
                  <a:pt x="3795332" y="274796"/>
                  <a:pt x="3778663" y="290894"/>
                  <a:pt x="3744944" y="290894"/>
                </a:cubicBezTo>
                <a:cubicBezTo>
                  <a:pt x="3716941" y="290894"/>
                  <a:pt x="3700272" y="281369"/>
                  <a:pt x="3687985" y="267081"/>
                </a:cubicBezTo>
                <a:lnTo>
                  <a:pt x="3645694" y="304133"/>
                </a:lnTo>
                <a:cubicBezTo>
                  <a:pt x="3667601" y="327850"/>
                  <a:pt x="3697034" y="341186"/>
                  <a:pt x="3741135" y="341186"/>
                </a:cubicBezTo>
                <a:cubicBezTo>
                  <a:pt x="3773043" y="341186"/>
                  <a:pt x="3807238" y="333565"/>
                  <a:pt x="3827145" y="314134"/>
                </a:cubicBezTo>
                <a:cubicBezTo>
                  <a:pt x="3843338" y="298513"/>
                  <a:pt x="3853720" y="278987"/>
                  <a:pt x="3853720" y="254222"/>
                </a:cubicBezTo>
                <a:cubicBezTo>
                  <a:pt x="3853720" y="220028"/>
                  <a:pt x="3838004" y="197167"/>
                  <a:pt x="3793903" y="190024"/>
                </a:cubicBezTo>
                <a:lnTo>
                  <a:pt x="3761994" y="184785"/>
                </a:lnTo>
                <a:cubicBezTo>
                  <a:pt x="3746754" y="182404"/>
                  <a:pt x="3739134" y="176689"/>
                  <a:pt x="3739134" y="166211"/>
                </a:cubicBezTo>
                <a:cubicBezTo>
                  <a:pt x="3739134" y="150971"/>
                  <a:pt x="3752469" y="136303"/>
                  <a:pt x="3782377" y="136303"/>
                </a:cubicBezTo>
                <a:cubicBezTo>
                  <a:pt x="3799999" y="136303"/>
                  <a:pt x="3818001" y="142018"/>
                  <a:pt x="3829431" y="153924"/>
                </a:cubicBezTo>
                <a:lnTo>
                  <a:pt x="3869817" y="118300"/>
                </a:lnTo>
                <a:close/>
                <a:moveTo>
                  <a:pt x="3661220" y="122111"/>
                </a:moveTo>
                <a:cubicBezTo>
                  <a:pt x="3646456" y="103156"/>
                  <a:pt x="3624644" y="87916"/>
                  <a:pt x="3588544" y="87916"/>
                </a:cubicBezTo>
                <a:cubicBezTo>
                  <a:pt x="3538157" y="87916"/>
                  <a:pt x="3481197" y="113538"/>
                  <a:pt x="3462623" y="214313"/>
                </a:cubicBezTo>
                <a:cubicBezTo>
                  <a:pt x="3460242" y="227171"/>
                  <a:pt x="3458813" y="240982"/>
                  <a:pt x="3458813" y="252794"/>
                </a:cubicBezTo>
                <a:cubicBezTo>
                  <a:pt x="3458813" y="311277"/>
                  <a:pt x="3500628" y="341186"/>
                  <a:pt x="3547586" y="341186"/>
                </a:cubicBezTo>
                <a:cubicBezTo>
                  <a:pt x="3579400" y="341186"/>
                  <a:pt x="3608451" y="329279"/>
                  <a:pt x="3629311" y="309848"/>
                </a:cubicBezTo>
                <a:lnTo>
                  <a:pt x="3596545" y="267557"/>
                </a:lnTo>
                <a:cubicBezTo>
                  <a:pt x="3582734" y="281369"/>
                  <a:pt x="3569875" y="288512"/>
                  <a:pt x="3553301" y="288512"/>
                </a:cubicBezTo>
                <a:cubicBezTo>
                  <a:pt x="3530441" y="288512"/>
                  <a:pt x="3518154" y="272320"/>
                  <a:pt x="3518154" y="246221"/>
                </a:cubicBezTo>
                <a:cubicBezTo>
                  <a:pt x="3518154" y="234791"/>
                  <a:pt x="3519583" y="225266"/>
                  <a:pt x="3521488" y="214313"/>
                </a:cubicBezTo>
                <a:cubicBezTo>
                  <a:pt x="3525774" y="190976"/>
                  <a:pt x="3534823" y="169640"/>
                  <a:pt x="3547586" y="156305"/>
                </a:cubicBezTo>
                <a:cubicBezTo>
                  <a:pt x="3558064" y="145352"/>
                  <a:pt x="3569970" y="140589"/>
                  <a:pt x="3582734" y="140589"/>
                </a:cubicBezTo>
                <a:cubicBezTo>
                  <a:pt x="3597497" y="140589"/>
                  <a:pt x="3607499" y="148209"/>
                  <a:pt x="3616928" y="161068"/>
                </a:cubicBezTo>
                <a:lnTo>
                  <a:pt x="3661220" y="122111"/>
                </a:lnTo>
                <a:close/>
                <a:moveTo>
                  <a:pt x="3456813" y="953"/>
                </a:moveTo>
                <a:lnTo>
                  <a:pt x="3395948" y="953"/>
                </a:lnTo>
                <a:lnTo>
                  <a:pt x="3386423" y="49816"/>
                </a:lnTo>
                <a:lnTo>
                  <a:pt x="3446812" y="49816"/>
                </a:lnTo>
                <a:lnTo>
                  <a:pt x="3456813" y="953"/>
                </a:lnTo>
                <a:close/>
                <a:moveTo>
                  <a:pt x="3436906" y="98393"/>
                </a:moveTo>
                <a:lnTo>
                  <a:pt x="3377946" y="98393"/>
                </a:lnTo>
                <a:lnTo>
                  <a:pt x="3329940" y="338423"/>
                </a:lnTo>
                <a:lnTo>
                  <a:pt x="3388900" y="338423"/>
                </a:lnTo>
                <a:lnTo>
                  <a:pt x="3436906" y="98393"/>
                </a:lnTo>
                <a:close/>
                <a:moveTo>
                  <a:pt x="3328035" y="98393"/>
                </a:moveTo>
                <a:lnTo>
                  <a:pt x="3287173" y="98393"/>
                </a:lnTo>
                <a:lnTo>
                  <a:pt x="3301937" y="24289"/>
                </a:lnTo>
                <a:lnTo>
                  <a:pt x="3242977" y="24289"/>
                </a:lnTo>
                <a:lnTo>
                  <a:pt x="3228213" y="98393"/>
                </a:lnTo>
                <a:lnTo>
                  <a:pt x="3203067" y="98393"/>
                </a:lnTo>
                <a:lnTo>
                  <a:pt x="3194019" y="142970"/>
                </a:lnTo>
                <a:lnTo>
                  <a:pt x="3219164" y="142970"/>
                </a:lnTo>
                <a:lnTo>
                  <a:pt x="3194971" y="264223"/>
                </a:lnTo>
                <a:cubicBezTo>
                  <a:pt x="3194019" y="269462"/>
                  <a:pt x="3193066" y="276130"/>
                  <a:pt x="3193066" y="284702"/>
                </a:cubicBezTo>
                <a:cubicBezTo>
                  <a:pt x="3193066" y="318421"/>
                  <a:pt x="3218688" y="338328"/>
                  <a:pt x="3252883" y="338328"/>
                </a:cubicBezTo>
                <a:lnTo>
                  <a:pt x="3283268" y="338328"/>
                </a:lnTo>
                <a:lnTo>
                  <a:pt x="3293269" y="288988"/>
                </a:lnTo>
                <a:lnTo>
                  <a:pt x="3271933" y="288988"/>
                </a:lnTo>
                <a:cubicBezTo>
                  <a:pt x="3259074" y="288988"/>
                  <a:pt x="3252883" y="283750"/>
                  <a:pt x="3252883" y="273748"/>
                </a:cubicBezTo>
                <a:cubicBezTo>
                  <a:pt x="3252883" y="271367"/>
                  <a:pt x="3252883" y="269462"/>
                  <a:pt x="3253836" y="264700"/>
                </a:cubicBezTo>
                <a:lnTo>
                  <a:pt x="3278029" y="142970"/>
                </a:lnTo>
                <a:lnTo>
                  <a:pt x="3318891" y="142970"/>
                </a:lnTo>
                <a:lnTo>
                  <a:pt x="3328035" y="98393"/>
                </a:lnTo>
                <a:close/>
                <a:moveTo>
                  <a:pt x="3163062" y="118300"/>
                </a:moveTo>
                <a:cubicBezTo>
                  <a:pt x="3141726" y="96488"/>
                  <a:pt x="3116009" y="87916"/>
                  <a:pt x="3080861" y="87916"/>
                </a:cubicBezTo>
                <a:cubicBezTo>
                  <a:pt x="3045619" y="87916"/>
                  <a:pt x="3017139" y="97917"/>
                  <a:pt x="2998565" y="116396"/>
                </a:cubicBezTo>
                <a:cubicBezTo>
                  <a:pt x="2981992" y="132969"/>
                  <a:pt x="2973420" y="155353"/>
                  <a:pt x="2973420" y="178213"/>
                </a:cubicBezTo>
                <a:cubicBezTo>
                  <a:pt x="2973420" y="201549"/>
                  <a:pt x="2987707" y="226695"/>
                  <a:pt x="3032760" y="234315"/>
                </a:cubicBezTo>
                <a:lnTo>
                  <a:pt x="3065145" y="239554"/>
                </a:lnTo>
                <a:cubicBezTo>
                  <a:pt x="3079433" y="241935"/>
                  <a:pt x="3088481" y="246697"/>
                  <a:pt x="3088481" y="260032"/>
                </a:cubicBezTo>
                <a:cubicBezTo>
                  <a:pt x="3088481" y="274796"/>
                  <a:pt x="3071813" y="290894"/>
                  <a:pt x="3037999" y="290894"/>
                </a:cubicBezTo>
                <a:cubicBezTo>
                  <a:pt x="3009995" y="290894"/>
                  <a:pt x="2993327" y="281369"/>
                  <a:pt x="2981039" y="267081"/>
                </a:cubicBezTo>
                <a:lnTo>
                  <a:pt x="2938748" y="304133"/>
                </a:lnTo>
                <a:cubicBezTo>
                  <a:pt x="2960656" y="327850"/>
                  <a:pt x="2990088" y="341186"/>
                  <a:pt x="3034189" y="341186"/>
                </a:cubicBezTo>
                <a:cubicBezTo>
                  <a:pt x="3066098" y="341186"/>
                  <a:pt x="3100292" y="333565"/>
                  <a:pt x="3120295" y="314134"/>
                </a:cubicBezTo>
                <a:cubicBezTo>
                  <a:pt x="3136392" y="298513"/>
                  <a:pt x="3146870" y="278987"/>
                  <a:pt x="3146870" y="254222"/>
                </a:cubicBezTo>
                <a:cubicBezTo>
                  <a:pt x="3146870" y="220028"/>
                  <a:pt x="3131153" y="197167"/>
                  <a:pt x="3087053" y="190024"/>
                </a:cubicBezTo>
                <a:lnTo>
                  <a:pt x="3055144" y="184785"/>
                </a:lnTo>
                <a:cubicBezTo>
                  <a:pt x="3039904" y="182404"/>
                  <a:pt x="3032284" y="176689"/>
                  <a:pt x="3032284" y="166211"/>
                </a:cubicBezTo>
                <a:cubicBezTo>
                  <a:pt x="3032284" y="150971"/>
                  <a:pt x="3045619" y="136303"/>
                  <a:pt x="3075623" y="136303"/>
                </a:cubicBezTo>
                <a:cubicBezTo>
                  <a:pt x="3093244" y="136303"/>
                  <a:pt x="3111246" y="142018"/>
                  <a:pt x="3122676" y="153924"/>
                </a:cubicBezTo>
                <a:lnTo>
                  <a:pt x="3163062" y="118300"/>
                </a:lnTo>
                <a:close/>
                <a:moveTo>
                  <a:pt x="2858453" y="231934"/>
                </a:moveTo>
                <a:lnTo>
                  <a:pt x="2855595" y="246697"/>
                </a:lnTo>
                <a:cubicBezTo>
                  <a:pt x="2853214" y="259080"/>
                  <a:pt x="2848451" y="270415"/>
                  <a:pt x="2840831" y="278035"/>
                </a:cubicBezTo>
                <a:cubicBezTo>
                  <a:pt x="2831783" y="287083"/>
                  <a:pt x="2818448" y="293275"/>
                  <a:pt x="2802350" y="293275"/>
                </a:cubicBezTo>
                <a:cubicBezTo>
                  <a:pt x="2780919" y="293275"/>
                  <a:pt x="2770918" y="283750"/>
                  <a:pt x="2770918" y="269938"/>
                </a:cubicBezTo>
                <a:cubicBezTo>
                  <a:pt x="2770918" y="248031"/>
                  <a:pt x="2786634" y="231838"/>
                  <a:pt x="2813209" y="231838"/>
                </a:cubicBezTo>
                <a:lnTo>
                  <a:pt x="2858453" y="231838"/>
                </a:lnTo>
                <a:close/>
                <a:moveTo>
                  <a:pt x="2930652" y="156877"/>
                </a:moveTo>
                <a:cubicBezTo>
                  <a:pt x="2930652" y="104108"/>
                  <a:pt x="2884075" y="88011"/>
                  <a:pt x="2842736" y="88011"/>
                </a:cubicBezTo>
                <a:cubicBezTo>
                  <a:pt x="2796636" y="88011"/>
                  <a:pt x="2770918" y="100870"/>
                  <a:pt x="2751011" y="121253"/>
                </a:cubicBezTo>
                <a:lnTo>
                  <a:pt x="2781395" y="160687"/>
                </a:lnTo>
                <a:cubicBezTo>
                  <a:pt x="2793778" y="146875"/>
                  <a:pt x="2810447" y="137350"/>
                  <a:pt x="2834640" y="137350"/>
                </a:cubicBezTo>
                <a:cubicBezTo>
                  <a:pt x="2859405" y="137350"/>
                  <a:pt x="2871311" y="147352"/>
                  <a:pt x="2871311" y="164021"/>
                </a:cubicBezTo>
                <a:cubicBezTo>
                  <a:pt x="2871311" y="168783"/>
                  <a:pt x="2870835" y="172117"/>
                  <a:pt x="2869883" y="176879"/>
                </a:cubicBezTo>
                <a:lnTo>
                  <a:pt x="2866549" y="191643"/>
                </a:lnTo>
                <a:lnTo>
                  <a:pt x="2807589" y="191643"/>
                </a:lnTo>
                <a:cubicBezTo>
                  <a:pt x="2779014" y="191643"/>
                  <a:pt x="2753868" y="199263"/>
                  <a:pt x="2735390" y="217265"/>
                </a:cubicBezTo>
                <a:cubicBezTo>
                  <a:pt x="2721102" y="231457"/>
                  <a:pt x="2713101" y="251460"/>
                  <a:pt x="2713101" y="275749"/>
                </a:cubicBezTo>
                <a:cubicBezTo>
                  <a:pt x="2713101" y="313277"/>
                  <a:pt x="2740628" y="340805"/>
                  <a:pt x="2783872" y="340805"/>
                </a:cubicBezTo>
                <a:cubicBezTo>
                  <a:pt x="2811018" y="340805"/>
                  <a:pt x="2829973" y="330327"/>
                  <a:pt x="2843784" y="316611"/>
                </a:cubicBezTo>
                <a:lnTo>
                  <a:pt x="2839498" y="338423"/>
                </a:lnTo>
                <a:lnTo>
                  <a:pt x="2896076" y="338423"/>
                </a:lnTo>
                <a:lnTo>
                  <a:pt x="2928366" y="178784"/>
                </a:lnTo>
                <a:cubicBezTo>
                  <a:pt x="2929700" y="172021"/>
                  <a:pt x="2930652" y="163544"/>
                  <a:pt x="2930652" y="156877"/>
                </a:cubicBezTo>
                <a:moveTo>
                  <a:pt x="2697766" y="0"/>
                </a:moveTo>
                <a:lnTo>
                  <a:pt x="2638806" y="0"/>
                </a:lnTo>
                <a:lnTo>
                  <a:pt x="2586133" y="264223"/>
                </a:lnTo>
                <a:cubicBezTo>
                  <a:pt x="2584704" y="270891"/>
                  <a:pt x="2584228" y="277082"/>
                  <a:pt x="2584228" y="284702"/>
                </a:cubicBezTo>
                <a:cubicBezTo>
                  <a:pt x="2584228" y="318421"/>
                  <a:pt x="2609374" y="338328"/>
                  <a:pt x="2643569" y="338328"/>
                </a:cubicBezTo>
                <a:lnTo>
                  <a:pt x="2675858" y="338328"/>
                </a:lnTo>
                <a:lnTo>
                  <a:pt x="2685860" y="288512"/>
                </a:lnTo>
                <a:lnTo>
                  <a:pt x="2661666" y="288512"/>
                </a:lnTo>
                <a:cubicBezTo>
                  <a:pt x="2648807" y="288512"/>
                  <a:pt x="2643569" y="283273"/>
                  <a:pt x="2643569" y="274225"/>
                </a:cubicBezTo>
                <a:cubicBezTo>
                  <a:pt x="2643569" y="270415"/>
                  <a:pt x="2644045" y="268033"/>
                  <a:pt x="2644997" y="263747"/>
                </a:cubicBezTo>
                <a:lnTo>
                  <a:pt x="2697766" y="0"/>
                </a:lnTo>
                <a:close/>
                <a:moveTo>
                  <a:pt x="2514791" y="94583"/>
                </a:moveTo>
                <a:cubicBezTo>
                  <a:pt x="2514791" y="120301"/>
                  <a:pt x="2496217" y="151638"/>
                  <a:pt x="2455355" y="151638"/>
                </a:cubicBezTo>
                <a:lnTo>
                  <a:pt x="2399253" y="151638"/>
                </a:lnTo>
                <a:lnTo>
                  <a:pt x="2418779" y="55531"/>
                </a:lnTo>
                <a:lnTo>
                  <a:pt x="2476786" y="55531"/>
                </a:lnTo>
                <a:cubicBezTo>
                  <a:pt x="2504885" y="55531"/>
                  <a:pt x="2514791" y="73152"/>
                  <a:pt x="2514791" y="94583"/>
                </a:cubicBezTo>
                <a:moveTo>
                  <a:pt x="2578037" y="89345"/>
                </a:moveTo>
                <a:cubicBezTo>
                  <a:pt x="2578037" y="36576"/>
                  <a:pt x="2544795" y="0"/>
                  <a:pt x="2487359" y="0"/>
                </a:cubicBezTo>
                <a:lnTo>
                  <a:pt x="2367058" y="0"/>
                </a:lnTo>
                <a:lnTo>
                  <a:pt x="2299049" y="338328"/>
                </a:lnTo>
                <a:lnTo>
                  <a:pt x="2361819" y="338328"/>
                </a:lnTo>
                <a:lnTo>
                  <a:pt x="2387918" y="207169"/>
                </a:lnTo>
                <a:lnTo>
                  <a:pt x="2453069" y="207169"/>
                </a:lnTo>
                <a:cubicBezTo>
                  <a:pt x="2534317" y="207169"/>
                  <a:pt x="2578037" y="149733"/>
                  <a:pt x="2578037" y="89345"/>
                </a:cubicBezTo>
                <a:moveTo>
                  <a:pt x="2105501" y="173546"/>
                </a:moveTo>
                <a:cubicBezTo>
                  <a:pt x="2105501" y="181165"/>
                  <a:pt x="2104073" y="192596"/>
                  <a:pt x="2101215" y="207740"/>
                </a:cubicBezTo>
                <a:cubicBezTo>
                  <a:pt x="2092643" y="252413"/>
                  <a:pt x="2079307" y="275272"/>
                  <a:pt x="2048923" y="275272"/>
                </a:cubicBezTo>
                <a:cubicBezTo>
                  <a:pt x="2027111" y="275272"/>
                  <a:pt x="2019490" y="260985"/>
                  <a:pt x="2019490" y="242506"/>
                </a:cubicBezTo>
                <a:cubicBezTo>
                  <a:pt x="2019490" y="234887"/>
                  <a:pt x="2020919" y="223456"/>
                  <a:pt x="2023777" y="208312"/>
                </a:cubicBezTo>
                <a:cubicBezTo>
                  <a:pt x="2032349" y="163639"/>
                  <a:pt x="2045589" y="140779"/>
                  <a:pt x="2076069" y="140779"/>
                </a:cubicBezTo>
                <a:cubicBezTo>
                  <a:pt x="2096072" y="140684"/>
                  <a:pt x="2105501" y="152971"/>
                  <a:pt x="2105501" y="173546"/>
                </a:cubicBezTo>
                <a:lnTo>
                  <a:pt x="2105501" y="173546"/>
                </a:lnTo>
                <a:close/>
                <a:moveTo>
                  <a:pt x="2183035" y="90773"/>
                </a:moveTo>
                <a:lnTo>
                  <a:pt x="2125980" y="90773"/>
                </a:lnTo>
                <a:lnTo>
                  <a:pt x="2121218" y="115919"/>
                </a:lnTo>
                <a:cubicBezTo>
                  <a:pt x="2109788" y="97346"/>
                  <a:pt x="2090833" y="87821"/>
                  <a:pt x="2065115" y="87821"/>
                </a:cubicBezTo>
                <a:cubicBezTo>
                  <a:pt x="2042827" y="87821"/>
                  <a:pt x="2020443" y="94012"/>
                  <a:pt x="2001964" y="112490"/>
                </a:cubicBezTo>
                <a:cubicBezTo>
                  <a:pt x="1983010" y="131445"/>
                  <a:pt x="1973485" y="160020"/>
                  <a:pt x="1964912" y="207550"/>
                </a:cubicBezTo>
                <a:cubicBezTo>
                  <a:pt x="1961102" y="228505"/>
                  <a:pt x="1958721" y="246031"/>
                  <a:pt x="1958721" y="257937"/>
                </a:cubicBezTo>
                <a:cubicBezTo>
                  <a:pt x="1958721" y="304514"/>
                  <a:pt x="1990535" y="327755"/>
                  <a:pt x="2027111" y="327755"/>
                </a:cubicBezTo>
                <a:cubicBezTo>
                  <a:pt x="2051876" y="327755"/>
                  <a:pt x="2069402" y="318230"/>
                  <a:pt x="2082260" y="303086"/>
                </a:cubicBezTo>
                <a:lnTo>
                  <a:pt x="2077022" y="328231"/>
                </a:lnTo>
                <a:cubicBezTo>
                  <a:pt x="2070354" y="360140"/>
                  <a:pt x="2049494" y="381953"/>
                  <a:pt x="2016633" y="381953"/>
                </a:cubicBezTo>
                <a:cubicBezTo>
                  <a:pt x="1993392" y="381953"/>
                  <a:pt x="1982914" y="370999"/>
                  <a:pt x="1975295" y="362426"/>
                </a:cubicBezTo>
                <a:lnTo>
                  <a:pt x="1934432" y="398050"/>
                </a:lnTo>
                <a:cubicBezTo>
                  <a:pt x="1955387" y="421767"/>
                  <a:pt x="1980533" y="431768"/>
                  <a:pt x="2016633" y="431768"/>
                </a:cubicBezTo>
                <a:cubicBezTo>
                  <a:pt x="2073688" y="431768"/>
                  <a:pt x="2121218" y="400907"/>
                  <a:pt x="2135505" y="328613"/>
                </a:cubicBezTo>
                <a:lnTo>
                  <a:pt x="2183035" y="90773"/>
                </a:lnTo>
                <a:close/>
                <a:moveTo>
                  <a:pt x="1924431" y="156305"/>
                </a:moveTo>
                <a:cubicBezTo>
                  <a:pt x="1924431" y="107347"/>
                  <a:pt x="1890236" y="87916"/>
                  <a:pt x="1861280" y="87916"/>
                </a:cubicBezTo>
                <a:cubicBezTo>
                  <a:pt x="1835563" y="87916"/>
                  <a:pt x="1811846" y="97441"/>
                  <a:pt x="1796129" y="114490"/>
                </a:cubicBezTo>
                <a:lnTo>
                  <a:pt x="1800415" y="90773"/>
                </a:lnTo>
                <a:lnTo>
                  <a:pt x="1743837" y="90773"/>
                </a:lnTo>
                <a:lnTo>
                  <a:pt x="1694402" y="338328"/>
                </a:lnTo>
                <a:lnTo>
                  <a:pt x="1753362" y="338328"/>
                </a:lnTo>
                <a:lnTo>
                  <a:pt x="1783747" y="188119"/>
                </a:lnTo>
                <a:cubicBezTo>
                  <a:pt x="1791367" y="149066"/>
                  <a:pt x="1816989" y="140589"/>
                  <a:pt x="1834134" y="140589"/>
                </a:cubicBezTo>
                <a:cubicBezTo>
                  <a:pt x="1849374" y="140589"/>
                  <a:pt x="1863566" y="150114"/>
                  <a:pt x="1863566" y="171450"/>
                </a:cubicBezTo>
                <a:cubicBezTo>
                  <a:pt x="1863566" y="176213"/>
                  <a:pt x="1862614" y="181928"/>
                  <a:pt x="1861661" y="187642"/>
                </a:cubicBezTo>
                <a:lnTo>
                  <a:pt x="1831277" y="338328"/>
                </a:lnTo>
                <a:lnTo>
                  <a:pt x="1890141" y="338328"/>
                </a:lnTo>
                <a:lnTo>
                  <a:pt x="1921002" y="183832"/>
                </a:lnTo>
                <a:cubicBezTo>
                  <a:pt x="1923002" y="175831"/>
                  <a:pt x="1924431" y="165354"/>
                  <a:pt x="1924431" y="156305"/>
                </a:cubicBezTo>
                <a:moveTo>
                  <a:pt x="1702022" y="953"/>
                </a:moveTo>
                <a:lnTo>
                  <a:pt x="1641157" y="953"/>
                </a:lnTo>
                <a:lnTo>
                  <a:pt x="1631632" y="49816"/>
                </a:lnTo>
                <a:lnTo>
                  <a:pt x="1692021" y="49816"/>
                </a:lnTo>
                <a:lnTo>
                  <a:pt x="1702022" y="953"/>
                </a:lnTo>
                <a:close/>
                <a:moveTo>
                  <a:pt x="1682115" y="98393"/>
                </a:moveTo>
                <a:lnTo>
                  <a:pt x="1623155" y="98393"/>
                </a:lnTo>
                <a:lnTo>
                  <a:pt x="1575149" y="338423"/>
                </a:lnTo>
                <a:lnTo>
                  <a:pt x="1634109" y="338423"/>
                </a:lnTo>
                <a:lnTo>
                  <a:pt x="1682115" y="98393"/>
                </a:lnTo>
                <a:close/>
                <a:moveTo>
                  <a:pt x="1592199" y="111252"/>
                </a:moveTo>
                <a:cubicBezTo>
                  <a:pt x="1578864" y="95536"/>
                  <a:pt x="1563243" y="88011"/>
                  <a:pt x="1539431" y="88011"/>
                </a:cubicBezTo>
                <a:cubicBezTo>
                  <a:pt x="1513713" y="88011"/>
                  <a:pt x="1490472" y="98488"/>
                  <a:pt x="1476661" y="115062"/>
                </a:cubicBezTo>
                <a:lnTo>
                  <a:pt x="1481900" y="90869"/>
                </a:lnTo>
                <a:lnTo>
                  <a:pt x="1424845" y="90869"/>
                </a:lnTo>
                <a:lnTo>
                  <a:pt x="1375410" y="338423"/>
                </a:lnTo>
                <a:lnTo>
                  <a:pt x="1434370" y="338423"/>
                </a:lnTo>
                <a:lnTo>
                  <a:pt x="1464278" y="188690"/>
                </a:lnTo>
                <a:cubicBezTo>
                  <a:pt x="1469993" y="160115"/>
                  <a:pt x="1490853" y="141161"/>
                  <a:pt x="1514189" y="141161"/>
                </a:cubicBezTo>
                <a:cubicBezTo>
                  <a:pt x="1527048" y="141161"/>
                  <a:pt x="1535144" y="148304"/>
                  <a:pt x="1541240" y="156400"/>
                </a:cubicBezTo>
                <a:lnTo>
                  <a:pt x="1592199" y="111252"/>
                </a:lnTo>
                <a:close/>
                <a:moveTo>
                  <a:pt x="1298067" y="176308"/>
                </a:moveTo>
                <a:cubicBezTo>
                  <a:pt x="1298067" y="181546"/>
                  <a:pt x="1297591" y="187738"/>
                  <a:pt x="1296638" y="192977"/>
                </a:cubicBezTo>
                <a:lnTo>
                  <a:pt x="1205770" y="192977"/>
                </a:lnTo>
                <a:cubicBezTo>
                  <a:pt x="1216724" y="152495"/>
                  <a:pt x="1237679" y="136303"/>
                  <a:pt x="1262825" y="136303"/>
                </a:cubicBezTo>
                <a:cubicBezTo>
                  <a:pt x="1283780" y="136398"/>
                  <a:pt x="1298067" y="150209"/>
                  <a:pt x="1298067" y="176308"/>
                </a:cubicBezTo>
                <a:moveTo>
                  <a:pt x="1354074" y="176308"/>
                </a:moveTo>
                <a:cubicBezTo>
                  <a:pt x="1354074" y="122587"/>
                  <a:pt x="1318451" y="87916"/>
                  <a:pt x="1266158" y="87916"/>
                </a:cubicBezTo>
                <a:cubicBezTo>
                  <a:pt x="1180529" y="87916"/>
                  <a:pt x="1140238" y="171069"/>
                  <a:pt x="1140238" y="254222"/>
                </a:cubicBezTo>
                <a:cubicBezTo>
                  <a:pt x="1140238" y="319373"/>
                  <a:pt x="1189101" y="341186"/>
                  <a:pt x="1231964" y="341186"/>
                </a:cubicBezTo>
                <a:cubicBezTo>
                  <a:pt x="1269111" y="341186"/>
                  <a:pt x="1302830" y="328803"/>
                  <a:pt x="1328452" y="305086"/>
                </a:cubicBezTo>
                <a:lnTo>
                  <a:pt x="1297591" y="266129"/>
                </a:lnTo>
                <a:cubicBezTo>
                  <a:pt x="1280446" y="282797"/>
                  <a:pt x="1262348" y="291370"/>
                  <a:pt x="1238631" y="291370"/>
                </a:cubicBezTo>
                <a:cubicBezTo>
                  <a:pt x="1210056" y="291370"/>
                  <a:pt x="1196340" y="274225"/>
                  <a:pt x="1196340" y="249936"/>
                </a:cubicBezTo>
                <a:cubicBezTo>
                  <a:pt x="1196340" y="244221"/>
                  <a:pt x="1197293" y="238030"/>
                  <a:pt x="1198245" y="232315"/>
                </a:cubicBezTo>
                <a:lnTo>
                  <a:pt x="1346549" y="232315"/>
                </a:lnTo>
                <a:cubicBezTo>
                  <a:pt x="1350740" y="213360"/>
                  <a:pt x="1354074" y="192977"/>
                  <a:pt x="1354074" y="176308"/>
                </a:cubicBezTo>
                <a:moveTo>
                  <a:pt x="1054227" y="176308"/>
                </a:moveTo>
                <a:cubicBezTo>
                  <a:pt x="1054227" y="181546"/>
                  <a:pt x="1053751" y="187738"/>
                  <a:pt x="1052798" y="192977"/>
                </a:cubicBezTo>
                <a:lnTo>
                  <a:pt x="961930" y="192977"/>
                </a:lnTo>
                <a:cubicBezTo>
                  <a:pt x="972884" y="152495"/>
                  <a:pt x="993838" y="136303"/>
                  <a:pt x="1018984" y="136303"/>
                </a:cubicBezTo>
                <a:cubicBezTo>
                  <a:pt x="1039940" y="136398"/>
                  <a:pt x="1054227" y="150209"/>
                  <a:pt x="1054227" y="176308"/>
                </a:cubicBezTo>
                <a:moveTo>
                  <a:pt x="1110234" y="176308"/>
                </a:moveTo>
                <a:cubicBezTo>
                  <a:pt x="1110234" y="122587"/>
                  <a:pt x="1074611" y="87916"/>
                  <a:pt x="1022318" y="87916"/>
                </a:cubicBezTo>
                <a:cubicBezTo>
                  <a:pt x="936688" y="87916"/>
                  <a:pt x="896398" y="171069"/>
                  <a:pt x="896398" y="254222"/>
                </a:cubicBezTo>
                <a:cubicBezTo>
                  <a:pt x="896398" y="319373"/>
                  <a:pt x="945261" y="341186"/>
                  <a:pt x="988124" y="341186"/>
                </a:cubicBezTo>
                <a:cubicBezTo>
                  <a:pt x="1025176" y="341186"/>
                  <a:pt x="1058990" y="328803"/>
                  <a:pt x="1084612" y="305086"/>
                </a:cubicBezTo>
                <a:lnTo>
                  <a:pt x="1053751" y="266129"/>
                </a:lnTo>
                <a:cubicBezTo>
                  <a:pt x="1036606" y="282797"/>
                  <a:pt x="1018604" y="291370"/>
                  <a:pt x="994791" y="291370"/>
                </a:cubicBezTo>
                <a:cubicBezTo>
                  <a:pt x="966216" y="291370"/>
                  <a:pt x="952500" y="274225"/>
                  <a:pt x="952500" y="249936"/>
                </a:cubicBezTo>
                <a:cubicBezTo>
                  <a:pt x="952500" y="244221"/>
                  <a:pt x="953453" y="238030"/>
                  <a:pt x="954405" y="232315"/>
                </a:cubicBezTo>
                <a:lnTo>
                  <a:pt x="1102709" y="232315"/>
                </a:lnTo>
                <a:cubicBezTo>
                  <a:pt x="1106900" y="213360"/>
                  <a:pt x="1110234" y="192977"/>
                  <a:pt x="1110234" y="176308"/>
                </a:cubicBezTo>
                <a:moveTo>
                  <a:pt x="863537" y="156305"/>
                </a:moveTo>
                <a:cubicBezTo>
                  <a:pt x="863537" y="107347"/>
                  <a:pt x="829342" y="87916"/>
                  <a:pt x="800386" y="87916"/>
                </a:cubicBezTo>
                <a:cubicBezTo>
                  <a:pt x="774763" y="87916"/>
                  <a:pt x="750951" y="97441"/>
                  <a:pt x="735235" y="114490"/>
                </a:cubicBezTo>
                <a:lnTo>
                  <a:pt x="739521" y="90773"/>
                </a:lnTo>
                <a:lnTo>
                  <a:pt x="682943" y="90773"/>
                </a:lnTo>
                <a:lnTo>
                  <a:pt x="633508" y="338328"/>
                </a:lnTo>
                <a:lnTo>
                  <a:pt x="692468" y="338328"/>
                </a:lnTo>
                <a:lnTo>
                  <a:pt x="722852" y="188119"/>
                </a:lnTo>
                <a:cubicBezTo>
                  <a:pt x="730472" y="149066"/>
                  <a:pt x="756095" y="140589"/>
                  <a:pt x="773240" y="140589"/>
                </a:cubicBezTo>
                <a:cubicBezTo>
                  <a:pt x="788480" y="140589"/>
                  <a:pt x="802672" y="150114"/>
                  <a:pt x="802672" y="171450"/>
                </a:cubicBezTo>
                <a:cubicBezTo>
                  <a:pt x="802672" y="176213"/>
                  <a:pt x="801719" y="181928"/>
                  <a:pt x="800767" y="187642"/>
                </a:cubicBezTo>
                <a:lnTo>
                  <a:pt x="770382" y="338328"/>
                </a:lnTo>
                <a:lnTo>
                  <a:pt x="829247" y="338328"/>
                </a:lnTo>
                <a:lnTo>
                  <a:pt x="860108" y="183832"/>
                </a:lnTo>
                <a:cubicBezTo>
                  <a:pt x="862108" y="175831"/>
                  <a:pt x="863537" y="165354"/>
                  <a:pt x="863537" y="156305"/>
                </a:cubicBezTo>
                <a:moveTo>
                  <a:pt x="553688" y="176308"/>
                </a:moveTo>
                <a:cubicBezTo>
                  <a:pt x="553688" y="181546"/>
                  <a:pt x="552736" y="193453"/>
                  <a:pt x="548450" y="214313"/>
                </a:cubicBezTo>
                <a:cubicBezTo>
                  <a:pt x="542734" y="245269"/>
                  <a:pt x="535115" y="264700"/>
                  <a:pt x="523208" y="276130"/>
                </a:cubicBezTo>
                <a:cubicBezTo>
                  <a:pt x="515588" y="283750"/>
                  <a:pt x="505111" y="288512"/>
                  <a:pt x="492824" y="288512"/>
                </a:cubicBezTo>
                <a:cubicBezTo>
                  <a:pt x="474250" y="288512"/>
                  <a:pt x="461391" y="276606"/>
                  <a:pt x="461391" y="252889"/>
                </a:cubicBezTo>
                <a:cubicBezTo>
                  <a:pt x="461391" y="247174"/>
                  <a:pt x="462344" y="235744"/>
                  <a:pt x="466630" y="214408"/>
                </a:cubicBezTo>
                <a:cubicBezTo>
                  <a:pt x="472821" y="184023"/>
                  <a:pt x="479965" y="164497"/>
                  <a:pt x="491871" y="153067"/>
                </a:cubicBezTo>
                <a:cubicBezTo>
                  <a:pt x="499491" y="145447"/>
                  <a:pt x="510445" y="140684"/>
                  <a:pt x="522351" y="140684"/>
                </a:cubicBezTo>
                <a:cubicBezTo>
                  <a:pt x="540925" y="140684"/>
                  <a:pt x="553688" y="152019"/>
                  <a:pt x="553688" y="176308"/>
                </a:cubicBezTo>
                <a:moveTo>
                  <a:pt x="612172" y="169640"/>
                </a:moveTo>
                <a:cubicBezTo>
                  <a:pt x="612172" y="112586"/>
                  <a:pt x="569881" y="87916"/>
                  <a:pt x="528542" y="87916"/>
                </a:cubicBezTo>
                <a:cubicBezTo>
                  <a:pt x="497110" y="87916"/>
                  <a:pt x="471011" y="98393"/>
                  <a:pt x="452438" y="116396"/>
                </a:cubicBezTo>
                <a:cubicBezTo>
                  <a:pt x="430625" y="137255"/>
                  <a:pt x="418719" y="162496"/>
                  <a:pt x="408242" y="214313"/>
                </a:cubicBezTo>
                <a:cubicBezTo>
                  <a:pt x="405860" y="225742"/>
                  <a:pt x="403003" y="244316"/>
                  <a:pt x="403003" y="259461"/>
                </a:cubicBezTo>
                <a:cubicBezTo>
                  <a:pt x="403003" y="316516"/>
                  <a:pt x="445294" y="341186"/>
                  <a:pt x="487109" y="341186"/>
                </a:cubicBezTo>
                <a:cubicBezTo>
                  <a:pt x="518541" y="341186"/>
                  <a:pt x="544163" y="330708"/>
                  <a:pt x="563213" y="312706"/>
                </a:cubicBezTo>
                <a:cubicBezTo>
                  <a:pt x="584549" y="291846"/>
                  <a:pt x="596932" y="266605"/>
                  <a:pt x="607409" y="214313"/>
                </a:cubicBezTo>
                <a:cubicBezTo>
                  <a:pt x="609314" y="203454"/>
                  <a:pt x="612172" y="184880"/>
                  <a:pt x="612172" y="169640"/>
                </a:cubicBezTo>
                <a:moveTo>
                  <a:pt x="401098" y="953"/>
                </a:moveTo>
                <a:lnTo>
                  <a:pt x="340233" y="953"/>
                </a:lnTo>
                <a:lnTo>
                  <a:pt x="330708" y="49816"/>
                </a:lnTo>
                <a:lnTo>
                  <a:pt x="391096" y="49816"/>
                </a:lnTo>
                <a:lnTo>
                  <a:pt x="401098" y="953"/>
                </a:lnTo>
                <a:close/>
                <a:moveTo>
                  <a:pt x="381191" y="98393"/>
                </a:moveTo>
                <a:lnTo>
                  <a:pt x="322231" y="98393"/>
                </a:lnTo>
                <a:lnTo>
                  <a:pt x="274225" y="338423"/>
                </a:lnTo>
                <a:lnTo>
                  <a:pt x="333184" y="338423"/>
                </a:lnTo>
                <a:lnTo>
                  <a:pt x="381191" y="98393"/>
                </a:lnTo>
                <a:close/>
                <a:moveTo>
                  <a:pt x="215741" y="94583"/>
                </a:moveTo>
                <a:cubicBezTo>
                  <a:pt x="215741" y="120301"/>
                  <a:pt x="197167" y="151638"/>
                  <a:pt x="156305" y="151638"/>
                </a:cubicBezTo>
                <a:lnTo>
                  <a:pt x="100203" y="151638"/>
                </a:lnTo>
                <a:lnTo>
                  <a:pt x="119729" y="55531"/>
                </a:lnTo>
                <a:lnTo>
                  <a:pt x="177737" y="55531"/>
                </a:lnTo>
                <a:cubicBezTo>
                  <a:pt x="205835" y="55531"/>
                  <a:pt x="215741" y="73152"/>
                  <a:pt x="215741" y="94583"/>
                </a:cubicBezTo>
                <a:moveTo>
                  <a:pt x="278987" y="89345"/>
                </a:moveTo>
                <a:cubicBezTo>
                  <a:pt x="278987" y="36576"/>
                  <a:pt x="245745" y="0"/>
                  <a:pt x="188214" y="0"/>
                </a:cubicBezTo>
                <a:lnTo>
                  <a:pt x="68008" y="0"/>
                </a:lnTo>
                <a:lnTo>
                  <a:pt x="0" y="338328"/>
                </a:lnTo>
                <a:lnTo>
                  <a:pt x="62770" y="338328"/>
                </a:lnTo>
                <a:lnTo>
                  <a:pt x="88868" y="207169"/>
                </a:lnTo>
                <a:lnTo>
                  <a:pt x="154019" y="207169"/>
                </a:lnTo>
                <a:cubicBezTo>
                  <a:pt x="235267" y="207169"/>
                  <a:pt x="278987" y="149733"/>
                  <a:pt x="278987" y="89345"/>
                </a:cubicBezTo>
              </a:path>
            </a:pathLst>
          </a:custGeom>
          <a:solidFill>
            <a:srgbClr val="FF83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12444394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Content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3706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4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5364162" cy="4319587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5C98477-65D7-407F-BF21-803FE6B13468}"/>
              </a:ext>
            </a:extLst>
          </p:cNvPr>
          <p:cNvGrpSpPr/>
          <p:nvPr userDrawn="1"/>
        </p:nvGrpSpPr>
        <p:grpSpPr>
          <a:xfrm>
            <a:off x="623888" y="6415097"/>
            <a:ext cx="841094" cy="111909"/>
            <a:chOff x="223019" y="5512949"/>
            <a:chExt cx="2540191" cy="337977"/>
          </a:xfrm>
          <a:solidFill>
            <a:schemeClr val="bg1"/>
          </a:solidFill>
        </p:grpSpPr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FC641DD5-0204-40F9-8DF6-9A0F94660A82}"/>
                </a:ext>
              </a:extLst>
            </p:cNvPr>
            <p:cNvSpPr/>
            <p:nvPr/>
          </p:nvSpPr>
          <p:spPr>
            <a:xfrm>
              <a:off x="490471" y="5606744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D09763D0-6D94-4C8A-B210-C157EA52D153}"/>
                </a:ext>
              </a:extLst>
            </p:cNvPr>
            <p:cNvSpPr/>
            <p:nvPr/>
          </p:nvSpPr>
          <p:spPr>
            <a:xfrm>
              <a:off x="882599" y="5611914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0DDF6F65-9085-43DD-9C43-AAFACA67BFA3}"/>
                </a:ext>
              </a:extLst>
            </p:cNvPr>
            <p:cNvSpPr/>
            <p:nvPr/>
          </p:nvSpPr>
          <p:spPr>
            <a:xfrm>
              <a:off x="1328017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C52AB039-09FB-4591-9B70-43414F4F0DFB}"/>
                </a:ext>
              </a:extLst>
            </p:cNvPr>
            <p:cNvSpPr/>
            <p:nvPr/>
          </p:nvSpPr>
          <p:spPr>
            <a:xfrm>
              <a:off x="2705755" y="5512949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EF68B8AF-7F0E-4E9F-8C04-33AFA77D8556}"/>
                </a:ext>
              </a:extLst>
            </p:cNvPr>
            <p:cNvSpPr/>
            <p:nvPr/>
          </p:nvSpPr>
          <p:spPr>
            <a:xfrm>
              <a:off x="2427843" y="5606026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DA7EF7DE-6357-4C9F-92E2-8E5CBDA85FA3}"/>
                </a:ext>
              </a:extLst>
            </p:cNvPr>
            <p:cNvSpPr/>
            <p:nvPr/>
          </p:nvSpPr>
          <p:spPr>
            <a:xfrm>
              <a:off x="2651342" y="5614356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E6CC6A00-CFE8-4889-8105-BED1DCD84C2A}"/>
                </a:ext>
              </a:extLst>
            </p:cNvPr>
            <p:cNvSpPr/>
            <p:nvPr/>
          </p:nvSpPr>
          <p:spPr>
            <a:xfrm>
              <a:off x="1914198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A3BDE999-4B91-4E7C-9386-DC316142733C}"/>
                </a:ext>
              </a:extLst>
            </p:cNvPr>
            <p:cNvSpPr/>
            <p:nvPr/>
          </p:nvSpPr>
          <p:spPr>
            <a:xfrm>
              <a:off x="1117732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86F8EA53-C244-42CD-9826-F19F53D3D4E1}"/>
                </a:ext>
              </a:extLst>
            </p:cNvPr>
            <p:cNvSpPr/>
            <p:nvPr/>
          </p:nvSpPr>
          <p:spPr>
            <a:xfrm>
              <a:off x="2154790" y="5521567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B5141D7-2236-49CF-A142-562F5F59B366}"/>
                </a:ext>
              </a:extLst>
            </p:cNvPr>
            <p:cNvSpPr/>
            <p:nvPr/>
          </p:nvSpPr>
          <p:spPr>
            <a:xfrm>
              <a:off x="637269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D4F17652-AD40-4A35-9E1C-84B6B8E29872}"/>
                </a:ext>
              </a:extLst>
            </p:cNvPr>
            <p:cNvSpPr/>
            <p:nvPr/>
          </p:nvSpPr>
          <p:spPr>
            <a:xfrm>
              <a:off x="223019" y="5521567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E7CA389B-70E3-48BD-8065-569037954D1F}"/>
                </a:ext>
              </a:extLst>
            </p:cNvPr>
            <p:cNvSpPr/>
            <p:nvPr/>
          </p:nvSpPr>
          <p:spPr>
            <a:xfrm>
              <a:off x="1579955" y="5521567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6C8F50D9-7E86-4793-9C11-2986EC3B1C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3950" y="1557338"/>
            <a:ext cx="5364163" cy="4319587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47DA45C5-2843-4EA4-AE05-8725965A04D8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25" name="Linientext 05,60">
              <a:extLst>
                <a:ext uri="{FF2B5EF4-FFF2-40B4-BE49-F238E27FC236}">
                  <a16:creationId xmlns:a16="http://schemas.microsoft.com/office/drawing/2014/main" id="{1F7336D8-3DB6-4A81-86FC-B91D11187D86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6" name="Hilfslinie 12,10">
              <a:extLst>
                <a:ext uri="{FF2B5EF4-FFF2-40B4-BE49-F238E27FC236}">
                  <a16:creationId xmlns:a16="http://schemas.microsoft.com/office/drawing/2014/main" id="{03AEABB4-6FDA-409F-927E-ED7FD3194A2B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Linientext 12,10">
              <a:extLst>
                <a:ext uri="{FF2B5EF4-FFF2-40B4-BE49-F238E27FC236}">
                  <a16:creationId xmlns:a16="http://schemas.microsoft.com/office/drawing/2014/main" id="{D9E7432E-E29A-414A-B39F-18FB9C8FD6A2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42" name="Linientext 13,95">
              <a:extLst>
                <a:ext uri="{FF2B5EF4-FFF2-40B4-BE49-F238E27FC236}">
                  <a16:creationId xmlns:a16="http://schemas.microsoft.com/office/drawing/2014/main" id="{BA833B66-8A2F-4909-903F-95684B35052B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43" name="Hilfslinie 13,95">
              <a:extLst>
                <a:ext uri="{FF2B5EF4-FFF2-40B4-BE49-F238E27FC236}">
                  <a16:creationId xmlns:a16="http://schemas.microsoft.com/office/drawing/2014/main" id="{C2CBF95F-3570-49AB-9087-CAD0FDE383C0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Hilfslinie 12,10">
              <a:extLst>
                <a:ext uri="{FF2B5EF4-FFF2-40B4-BE49-F238E27FC236}">
                  <a16:creationId xmlns:a16="http://schemas.microsoft.com/office/drawing/2014/main" id="{9849AA96-11EC-4307-A6BD-50CBE4731BCA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Linientext 12,10">
              <a:extLst>
                <a:ext uri="{FF2B5EF4-FFF2-40B4-BE49-F238E27FC236}">
                  <a16:creationId xmlns:a16="http://schemas.microsoft.com/office/drawing/2014/main" id="{56A16EB9-03CB-4F94-9335-8FC6B147A9B3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46" name="Linientext 13,95">
              <a:extLst>
                <a:ext uri="{FF2B5EF4-FFF2-40B4-BE49-F238E27FC236}">
                  <a16:creationId xmlns:a16="http://schemas.microsoft.com/office/drawing/2014/main" id="{D531EC20-9A1B-4AC3-A7E0-824CA3DA2808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47" name="Hilfslinie 13,95">
              <a:extLst>
                <a:ext uri="{FF2B5EF4-FFF2-40B4-BE49-F238E27FC236}">
                  <a16:creationId xmlns:a16="http://schemas.microsoft.com/office/drawing/2014/main" id="{1C446D47-23A8-4299-9E76-5BBFA98CE1E3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Linientext 05,60">
              <a:extLst>
                <a:ext uri="{FF2B5EF4-FFF2-40B4-BE49-F238E27FC236}">
                  <a16:creationId xmlns:a16="http://schemas.microsoft.com/office/drawing/2014/main" id="{2983903A-4771-48FE-93EC-8E09AC27E52B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9" name="Linientext 05,60">
              <a:extLst>
                <a:ext uri="{FF2B5EF4-FFF2-40B4-BE49-F238E27FC236}">
                  <a16:creationId xmlns:a16="http://schemas.microsoft.com/office/drawing/2014/main" id="{67F67994-3543-4747-9692-565204EFA940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0" name="Linientext 05,60">
              <a:extLst>
                <a:ext uri="{FF2B5EF4-FFF2-40B4-BE49-F238E27FC236}">
                  <a16:creationId xmlns:a16="http://schemas.microsoft.com/office/drawing/2014/main" id="{437C62D5-C75F-458B-8922-11A130F00208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1" name="Linientext 05,60">
              <a:extLst>
                <a:ext uri="{FF2B5EF4-FFF2-40B4-BE49-F238E27FC236}">
                  <a16:creationId xmlns:a16="http://schemas.microsoft.com/office/drawing/2014/main" id="{D720DF36-9783-43A8-90A2-B6122365F958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2" name="Hilfslinie 05,60">
              <a:extLst>
                <a:ext uri="{FF2B5EF4-FFF2-40B4-BE49-F238E27FC236}">
                  <a16:creationId xmlns:a16="http://schemas.microsoft.com/office/drawing/2014/main" id="{EB43322C-683F-4C99-9610-3A5775081FDB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Hilfslinie 05,60">
              <a:extLst>
                <a:ext uri="{FF2B5EF4-FFF2-40B4-BE49-F238E27FC236}">
                  <a16:creationId xmlns:a16="http://schemas.microsoft.com/office/drawing/2014/main" id="{04CC0670-D752-44FA-A724-00498D2A134D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Hilfslinie 05,60">
              <a:extLst>
                <a:ext uri="{FF2B5EF4-FFF2-40B4-BE49-F238E27FC236}">
                  <a16:creationId xmlns:a16="http://schemas.microsoft.com/office/drawing/2014/main" id="{13459362-8914-4995-A9BF-EEC489806345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Hilfslinie 05,60">
              <a:extLst>
                <a:ext uri="{FF2B5EF4-FFF2-40B4-BE49-F238E27FC236}">
                  <a16:creationId xmlns:a16="http://schemas.microsoft.com/office/drawing/2014/main" id="{5465A5B9-D3A4-4209-8929-64785F73AEE8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Hilfslinie 05,60">
              <a:extLst>
                <a:ext uri="{FF2B5EF4-FFF2-40B4-BE49-F238E27FC236}">
                  <a16:creationId xmlns:a16="http://schemas.microsoft.com/office/drawing/2014/main" id="{D3C4732E-A326-4BC2-879F-E27F8C8C9470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Linientext 05,60">
              <a:extLst>
                <a:ext uri="{FF2B5EF4-FFF2-40B4-BE49-F238E27FC236}">
                  <a16:creationId xmlns:a16="http://schemas.microsoft.com/office/drawing/2014/main" id="{43B0C948-8225-4B29-A5D8-0D085EE66DB0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8" name="Hilfslinie 05,60">
              <a:extLst>
                <a:ext uri="{FF2B5EF4-FFF2-40B4-BE49-F238E27FC236}">
                  <a16:creationId xmlns:a16="http://schemas.microsoft.com/office/drawing/2014/main" id="{585D7803-2750-481E-B0F0-199FC3A47173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Foliennummernplatzhalter 3">
            <a:extLst>
              <a:ext uri="{FF2B5EF4-FFF2-40B4-BE49-F238E27FC236}">
                <a16:creationId xmlns:a16="http://schemas.microsoft.com/office/drawing/2014/main" id="{05E73956-1E93-4FB9-B8AD-8F3E4879B3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0" name="Textplatzhalter 3">
            <a:extLst>
              <a:ext uri="{FF2B5EF4-FFF2-40B4-BE49-F238E27FC236}">
                <a16:creationId xmlns:a16="http://schemas.microsoft.com/office/drawing/2014/main" id="{E48D3184-3661-4D14-8254-282FC039E9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076236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62" name="Regieanweisung // Allgemein">
            <a:extLst>
              <a:ext uri="{FF2B5EF4-FFF2-40B4-BE49-F238E27FC236}">
                <a16:creationId xmlns:a16="http://schemas.microsoft.com/office/drawing/2014/main" id="{B605BDF8-6818-47F4-868D-D9503EA2D311}"/>
              </a:ext>
            </a:extLst>
          </p:cNvPr>
          <p:cNvSpPr txBox="1"/>
          <p:nvPr userDrawn="1"/>
        </p:nvSpPr>
        <p:spPr>
          <a:xfrm rot="10800000" flipH="1" flipV="1">
            <a:off x="12345888" y="3580614"/>
            <a:ext cx="1570138" cy="2299842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 vert="horz" wrap="square" lIns="72000" tIns="72000" rIns="72000" bIns="72000" rtlCol="0" anchor="b" anchorCtr="0">
            <a:sp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To insert gridlines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View // Show //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check gridlines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Bring back slide 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to original shape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Slide // Rese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Change Indent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Paragraph //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Left or Right Inden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Change slide layou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Slides // Layout</a:t>
            </a:r>
          </a:p>
        </p:txBody>
      </p:sp>
      <p:sp>
        <p:nvSpPr>
          <p:cNvPr id="61" name="Freihandform: Form 60">
            <a:extLst>
              <a:ext uri="{FF2B5EF4-FFF2-40B4-BE49-F238E27FC236}">
                <a16:creationId xmlns:a16="http://schemas.microsoft.com/office/drawing/2014/main" id="{7F1D4F34-CA36-479A-88DC-33A2F9A71DAD}"/>
              </a:ext>
            </a:extLst>
          </p:cNvPr>
          <p:cNvSpPr/>
          <p:nvPr userDrawn="1"/>
        </p:nvSpPr>
        <p:spPr>
          <a:xfrm>
            <a:off x="1796103" y="6422713"/>
            <a:ext cx="1189211" cy="131809"/>
          </a:xfrm>
          <a:custGeom>
            <a:avLst/>
            <a:gdLst>
              <a:gd name="connsiteX0" fmla="*/ 3869817 w 3867150"/>
              <a:gd name="connsiteY0" fmla="*/ 118300 h 428625"/>
              <a:gd name="connsiteX1" fmla="*/ 3787617 w 3867150"/>
              <a:gd name="connsiteY1" fmla="*/ 87916 h 428625"/>
              <a:gd name="connsiteX2" fmla="*/ 3705416 w 3867150"/>
              <a:gd name="connsiteY2" fmla="*/ 116396 h 428625"/>
              <a:gd name="connsiteX3" fmla="*/ 3680270 w 3867150"/>
              <a:gd name="connsiteY3" fmla="*/ 178213 h 428625"/>
              <a:gd name="connsiteX4" fmla="*/ 3739610 w 3867150"/>
              <a:gd name="connsiteY4" fmla="*/ 234315 h 428625"/>
              <a:gd name="connsiteX5" fmla="*/ 3771995 w 3867150"/>
              <a:gd name="connsiteY5" fmla="*/ 239554 h 428625"/>
              <a:gd name="connsiteX6" fmla="*/ 3795332 w 3867150"/>
              <a:gd name="connsiteY6" fmla="*/ 260032 h 428625"/>
              <a:gd name="connsiteX7" fmla="*/ 3744944 w 3867150"/>
              <a:gd name="connsiteY7" fmla="*/ 290894 h 428625"/>
              <a:gd name="connsiteX8" fmla="*/ 3687985 w 3867150"/>
              <a:gd name="connsiteY8" fmla="*/ 267081 h 428625"/>
              <a:gd name="connsiteX9" fmla="*/ 3645694 w 3867150"/>
              <a:gd name="connsiteY9" fmla="*/ 304133 h 428625"/>
              <a:gd name="connsiteX10" fmla="*/ 3741135 w 3867150"/>
              <a:gd name="connsiteY10" fmla="*/ 341186 h 428625"/>
              <a:gd name="connsiteX11" fmla="*/ 3827145 w 3867150"/>
              <a:gd name="connsiteY11" fmla="*/ 314134 h 428625"/>
              <a:gd name="connsiteX12" fmla="*/ 3853720 w 3867150"/>
              <a:gd name="connsiteY12" fmla="*/ 254222 h 428625"/>
              <a:gd name="connsiteX13" fmla="*/ 3793903 w 3867150"/>
              <a:gd name="connsiteY13" fmla="*/ 190024 h 428625"/>
              <a:gd name="connsiteX14" fmla="*/ 3761994 w 3867150"/>
              <a:gd name="connsiteY14" fmla="*/ 184785 h 428625"/>
              <a:gd name="connsiteX15" fmla="*/ 3739134 w 3867150"/>
              <a:gd name="connsiteY15" fmla="*/ 166211 h 428625"/>
              <a:gd name="connsiteX16" fmla="*/ 3782377 w 3867150"/>
              <a:gd name="connsiteY16" fmla="*/ 136303 h 428625"/>
              <a:gd name="connsiteX17" fmla="*/ 3829431 w 3867150"/>
              <a:gd name="connsiteY17" fmla="*/ 153924 h 428625"/>
              <a:gd name="connsiteX18" fmla="*/ 3869817 w 3867150"/>
              <a:gd name="connsiteY18" fmla="*/ 118300 h 428625"/>
              <a:gd name="connsiteX19" fmla="*/ 3661220 w 3867150"/>
              <a:gd name="connsiteY19" fmla="*/ 122111 h 428625"/>
              <a:gd name="connsiteX20" fmla="*/ 3588544 w 3867150"/>
              <a:gd name="connsiteY20" fmla="*/ 87916 h 428625"/>
              <a:gd name="connsiteX21" fmla="*/ 3462623 w 3867150"/>
              <a:gd name="connsiteY21" fmla="*/ 214313 h 428625"/>
              <a:gd name="connsiteX22" fmla="*/ 3458813 w 3867150"/>
              <a:gd name="connsiteY22" fmla="*/ 252794 h 428625"/>
              <a:gd name="connsiteX23" fmla="*/ 3547586 w 3867150"/>
              <a:gd name="connsiteY23" fmla="*/ 341186 h 428625"/>
              <a:gd name="connsiteX24" fmla="*/ 3629311 w 3867150"/>
              <a:gd name="connsiteY24" fmla="*/ 309848 h 428625"/>
              <a:gd name="connsiteX25" fmla="*/ 3596545 w 3867150"/>
              <a:gd name="connsiteY25" fmla="*/ 267557 h 428625"/>
              <a:gd name="connsiteX26" fmla="*/ 3553301 w 3867150"/>
              <a:gd name="connsiteY26" fmla="*/ 288512 h 428625"/>
              <a:gd name="connsiteX27" fmla="*/ 3518154 w 3867150"/>
              <a:gd name="connsiteY27" fmla="*/ 246221 h 428625"/>
              <a:gd name="connsiteX28" fmla="*/ 3521488 w 3867150"/>
              <a:gd name="connsiteY28" fmla="*/ 214313 h 428625"/>
              <a:gd name="connsiteX29" fmla="*/ 3547586 w 3867150"/>
              <a:gd name="connsiteY29" fmla="*/ 156305 h 428625"/>
              <a:gd name="connsiteX30" fmla="*/ 3582734 w 3867150"/>
              <a:gd name="connsiteY30" fmla="*/ 140589 h 428625"/>
              <a:gd name="connsiteX31" fmla="*/ 3616928 w 3867150"/>
              <a:gd name="connsiteY31" fmla="*/ 161068 h 428625"/>
              <a:gd name="connsiteX32" fmla="*/ 3661220 w 3867150"/>
              <a:gd name="connsiteY32" fmla="*/ 122111 h 428625"/>
              <a:gd name="connsiteX33" fmla="*/ 3456813 w 3867150"/>
              <a:gd name="connsiteY33" fmla="*/ 953 h 428625"/>
              <a:gd name="connsiteX34" fmla="*/ 3395948 w 3867150"/>
              <a:gd name="connsiteY34" fmla="*/ 953 h 428625"/>
              <a:gd name="connsiteX35" fmla="*/ 3386423 w 3867150"/>
              <a:gd name="connsiteY35" fmla="*/ 49816 h 428625"/>
              <a:gd name="connsiteX36" fmla="*/ 3446812 w 3867150"/>
              <a:gd name="connsiteY36" fmla="*/ 49816 h 428625"/>
              <a:gd name="connsiteX37" fmla="*/ 3456813 w 3867150"/>
              <a:gd name="connsiteY37" fmla="*/ 953 h 428625"/>
              <a:gd name="connsiteX38" fmla="*/ 3436906 w 3867150"/>
              <a:gd name="connsiteY38" fmla="*/ 98393 h 428625"/>
              <a:gd name="connsiteX39" fmla="*/ 3377946 w 3867150"/>
              <a:gd name="connsiteY39" fmla="*/ 98393 h 428625"/>
              <a:gd name="connsiteX40" fmla="*/ 3329940 w 3867150"/>
              <a:gd name="connsiteY40" fmla="*/ 338423 h 428625"/>
              <a:gd name="connsiteX41" fmla="*/ 3388900 w 3867150"/>
              <a:gd name="connsiteY41" fmla="*/ 338423 h 428625"/>
              <a:gd name="connsiteX42" fmla="*/ 3436906 w 3867150"/>
              <a:gd name="connsiteY42" fmla="*/ 98393 h 428625"/>
              <a:gd name="connsiteX43" fmla="*/ 3328035 w 3867150"/>
              <a:gd name="connsiteY43" fmla="*/ 98393 h 428625"/>
              <a:gd name="connsiteX44" fmla="*/ 3287173 w 3867150"/>
              <a:gd name="connsiteY44" fmla="*/ 98393 h 428625"/>
              <a:gd name="connsiteX45" fmla="*/ 3301937 w 3867150"/>
              <a:gd name="connsiteY45" fmla="*/ 24289 h 428625"/>
              <a:gd name="connsiteX46" fmla="*/ 3242977 w 3867150"/>
              <a:gd name="connsiteY46" fmla="*/ 24289 h 428625"/>
              <a:gd name="connsiteX47" fmla="*/ 3228213 w 3867150"/>
              <a:gd name="connsiteY47" fmla="*/ 98393 h 428625"/>
              <a:gd name="connsiteX48" fmla="*/ 3203067 w 3867150"/>
              <a:gd name="connsiteY48" fmla="*/ 98393 h 428625"/>
              <a:gd name="connsiteX49" fmla="*/ 3194019 w 3867150"/>
              <a:gd name="connsiteY49" fmla="*/ 142970 h 428625"/>
              <a:gd name="connsiteX50" fmla="*/ 3219164 w 3867150"/>
              <a:gd name="connsiteY50" fmla="*/ 142970 h 428625"/>
              <a:gd name="connsiteX51" fmla="*/ 3194971 w 3867150"/>
              <a:gd name="connsiteY51" fmla="*/ 264223 h 428625"/>
              <a:gd name="connsiteX52" fmla="*/ 3193066 w 3867150"/>
              <a:gd name="connsiteY52" fmla="*/ 284702 h 428625"/>
              <a:gd name="connsiteX53" fmla="*/ 3252883 w 3867150"/>
              <a:gd name="connsiteY53" fmla="*/ 338328 h 428625"/>
              <a:gd name="connsiteX54" fmla="*/ 3283268 w 3867150"/>
              <a:gd name="connsiteY54" fmla="*/ 338328 h 428625"/>
              <a:gd name="connsiteX55" fmla="*/ 3293269 w 3867150"/>
              <a:gd name="connsiteY55" fmla="*/ 288988 h 428625"/>
              <a:gd name="connsiteX56" fmla="*/ 3271933 w 3867150"/>
              <a:gd name="connsiteY56" fmla="*/ 288988 h 428625"/>
              <a:gd name="connsiteX57" fmla="*/ 3252883 w 3867150"/>
              <a:gd name="connsiteY57" fmla="*/ 273748 h 428625"/>
              <a:gd name="connsiteX58" fmla="*/ 3253836 w 3867150"/>
              <a:gd name="connsiteY58" fmla="*/ 264700 h 428625"/>
              <a:gd name="connsiteX59" fmla="*/ 3278029 w 3867150"/>
              <a:gd name="connsiteY59" fmla="*/ 142970 h 428625"/>
              <a:gd name="connsiteX60" fmla="*/ 3318891 w 3867150"/>
              <a:gd name="connsiteY60" fmla="*/ 142970 h 428625"/>
              <a:gd name="connsiteX61" fmla="*/ 3328035 w 3867150"/>
              <a:gd name="connsiteY61" fmla="*/ 98393 h 428625"/>
              <a:gd name="connsiteX62" fmla="*/ 3163062 w 3867150"/>
              <a:gd name="connsiteY62" fmla="*/ 118300 h 428625"/>
              <a:gd name="connsiteX63" fmla="*/ 3080861 w 3867150"/>
              <a:gd name="connsiteY63" fmla="*/ 87916 h 428625"/>
              <a:gd name="connsiteX64" fmla="*/ 2998565 w 3867150"/>
              <a:gd name="connsiteY64" fmla="*/ 116396 h 428625"/>
              <a:gd name="connsiteX65" fmla="*/ 2973420 w 3867150"/>
              <a:gd name="connsiteY65" fmla="*/ 178213 h 428625"/>
              <a:gd name="connsiteX66" fmla="*/ 3032760 w 3867150"/>
              <a:gd name="connsiteY66" fmla="*/ 234315 h 428625"/>
              <a:gd name="connsiteX67" fmla="*/ 3065145 w 3867150"/>
              <a:gd name="connsiteY67" fmla="*/ 239554 h 428625"/>
              <a:gd name="connsiteX68" fmla="*/ 3088481 w 3867150"/>
              <a:gd name="connsiteY68" fmla="*/ 260032 h 428625"/>
              <a:gd name="connsiteX69" fmla="*/ 3037999 w 3867150"/>
              <a:gd name="connsiteY69" fmla="*/ 290894 h 428625"/>
              <a:gd name="connsiteX70" fmla="*/ 2981039 w 3867150"/>
              <a:gd name="connsiteY70" fmla="*/ 267081 h 428625"/>
              <a:gd name="connsiteX71" fmla="*/ 2938748 w 3867150"/>
              <a:gd name="connsiteY71" fmla="*/ 304133 h 428625"/>
              <a:gd name="connsiteX72" fmla="*/ 3034189 w 3867150"/>
              <a:gd name="connsiteY72" fmla="*/ 341186 h 428625"/>
              <a:gd name="connsiteX73" fmla="*/ 3120295 w 3867150"/>
              <a:gd name="connsiteY73" fmla="*/ 314134 h 428625"/>
              <a:gd name="connsiteX74" fmla="*/ 3146870 w 3867150"/>
              <a:gd name="connsiteY74" fmla="*/ 254222 h 428625"/>
              <a:gd name="connsiteX75" fmla="*/ 3087053 w 3867150"/>
              <a:gd name="connsiteY75" fmla="*/ 190024 h 428625"/>
              <a:gd name="connsiteX76" fmla="*/ 3055144 w 3867150"/>
              <a:gd name="connsiteY76" fmla="*/ 184785 h 428625"/>
              <a:gd name="connsiteX77" fmla="*/ 3032284 w 3867150"/>
              <a:gd name="connsiteY77" fmla="*/ 166211 h 428625"/>
              <a:gd name="connsiteX78" fmla="*/ 3075623 w 3867150"/>
              <a:gd name="connsiteY78" fmla="*/ 136303 h 428625"/>
              <a:gd name="connsiteX79" fmla="*/ 3122676 w 3867150"/>
              <a:gd name="connsiteY79" fmla="*/ 153924 h 428625"/>
              <a:gd name="connsiteX80" fmla="*/ 3163062 w 3867150"/>
              <a:gd name="connsiteY80" fmla="*/ 118300 h 428625"/>
              <a:gd name="connsiteX81" fmla="*/ 2858453 w 3867150"/>
              <a:gd name="connsiteY81" fmla="*/ 231934 h 428625"/>
              <a:gd name="connsiteX82" fmla="*/ 2855595 w 3867150"/>
              <a:gd name="connsiteY82" fmla="*/ 246697 h 428625"/>
              <a:gd name="connsiteX83" fmla="*/ 2840831 w 3867150"/>
              <a:gd name="connsiteY83" fmla="*/ 278035 h 428625"/>
              <a:gd name="connsiteX84" fmla="*/ 2802350 w 3867150"/>
              <a:gd name="connsiteY84" fmla="*/ 293275 h 428625"/>
              <a:gd name="connsiteX85" fmla="*/ 2770918 w 3867150"/>
              <a:gd name="connsiteY85" fmla="*/ 269938 h 428625"/>
              <a:gd name="connsiteX86" fmla="*/ 2813209 w 3867150"/>
              <a:gd name="connsiteY86" fmla="*/ 231838 h 428625"/>
              <a:gd name="connsiteX87" fmla="*/ 2858453 w 3867150"/>
              <a:gd name="connsiteY87" fmla="*/ 231838 h 428625"/>
              <a:gd name="connsiteX88" fmla="*/ 2930652 w 3867150"/>
              <a:gd name="connsiteY88" fmla="*/ 156877 h 428625"/>
              <a:gd name="connsiteX89" fmla="*/ 2842736 w 3867150"/>
              <a:gd name="connsiteY89" fmla="*/ 88011 h 428625"/>
              <a:gd name="connsiteX90" fmla="*/ 2751011 w 3867150"/>
              <a:gd name="connsiteY90" fmla="*/ 121253 h 428625"/>
              <a:gd name="connsiteX91" fmla="*/ 2781395 w 3867150"/>
              <a:gd name="connsiteY91" fmla="*/ 160687 h 428625"/>
              <a:gd name="connsiteX92" fmla="*/ 2834640 w 3867150"/>
              <a:gd name="connsiteY92" fmla="*/ 137350 h 428625"/>
              <a:gd name="connsiteX93" fmla="*/ 2871311 w 3867150"/>
              <a:gd name="connsiteY93" fmla="*/ 164021 h 428625"/>
              <a:gd name="connsiteX94" fmla="*/ 2869883 w 3867150"/>
              <a:gd name="connsiteY94" fmla="*/ 176879 h 428625"/>
              <a:gd name="connsiteX95" fmla="*/ 2866549 w 3867150"/>
              <a:gd name="connsiteY95" fmla="*/ 191643 h 428625"/>
              <a:gd name="connsiteX96" fmla="*/ 2807589 w 3867150"/>
              <a:gd name="connsiteY96" fmla="*/ 191643 h 428625"/>
              <a:gd name="connsiteX97" fmla="*/ 2735390 w 3867150"/>
              <a:gd name="connsiteY97" fmla="*/ 217265 h 428625"/>
              <a:gd name="connsiteX98" fmla="*/ 2713101 w 3867150"/>
              <a:gd name="connsiteY98" fmla="*/ 275749 h 428625"/>
              <a:gd name="connsiteX99" fmla="*/ 2783872 w 3867150"/>
              <a:gd name="connsiteY99" fmla="*/ 340805 h 428625"/>
              <a:gd name="connsiteX100" fmla="*/ 2843784 w 3867150"/>
              <a:gd name="connsiteY100" fmla="*/ 316611 h 428625"/>
              <a:gd name="connsiteX101" fmla="*/ 2839498 w 3867150"/>
              <a:gd name="connsiteY101" fmla="*/ 338423 h 428625"/>
              <a:gd name="connsiteX102" fmla="*/ 2896076 w 3867150"/>
              <a:gd name="connsiteY102" fmla="*/ 338423 h 428625"/>
              <a:gd name="connsiteX103" fmla="*/ 2928366 w 3867150"/>
              <a:gd name="connsiteY103" fmla="*/ 178784 h 428625"/>
              <a:gd name="connsiteX104" fmla="*/ 2930652 w 3867150"/>
              <a:gd name="connsiteY104" fmla="*/ 156877 h 428625"/>
              <a:gd name="connsiteX105" fmla="*/ 2697766 w 3867150"/>
              <a:gd name="connsiteY105" fmla="*/ 0 h 428625"/>
              <a:gd name="connsiteX106" fmla="*/ 2638806 w 3867150"/>
              <a:gd name="connsiteY106" fmla="*/ 0 h 428625"/>
              <a:gd name="connsiteX107" fmla="*/ 2586133 w 3867150"/>
              <a:gd name="connsiteY107" fmla="*/ 264223 h 428625"/>
              <a:gd name="connsiteX108" fmla="*/ 2584228 w 3867150"/>
              <a:gd name="connsiteY108" fmla="*/ 284702 h 428625"/>
              <a:gd name="connsiteX109" fmla="*/ 2643569 w 3867150"/>
              <a:gd name="connsiteY109" fmla="*/ 338328 h 428625"/>
              <a:gd name="connsiteX110" fmla="*/ 2675858 w 3867150"/>
              <a:gd name="connsiteY110" fmla="*/ 338328 h 428625"/>
              <a:gd name="connsiteX111" fmla="*/ 2685860 w 3867150"/>
              <a:gd name="connsiteY111" fmla="*/ 288512 h 428625"/>
              <a:gd name="connsiteX112" fmla="*/ 2661666 w 3867150"/>
              <a:gd name="connsiteY112" fmla="*/ 288512 h 428625"/>
              <a:gd name="connsiteX113" fmla="*/ 2643569 w 3867150"/>
              <a:gd name="connsiteY113" fmla="*/ 274225 h 428625"/>
              <a:gd name="connsiteX114" fmla="*/ 2644997 w 3867150"/>
              <a:gd name="connsiteY114" fmla="*/ 263747 h 428625"/>
              <a:gd name="connsiteX115" fmla="*/ 2697766 w 3867150"/>
              <a:gd name="connsiteY115" fmla="*/ 0 h 428625"/>
              <a:gd name="connsiteX116" fmla="*/ 2514791 w 3867150"/>
              <a:gd name="connsiteY116" fmla="*/ 94583 h 428625"/>
              <a:gd name="connsiteX117" fmla="*/ 2455355 w 3867150"/>
              <a:gd name="connsiteY117" fmla="*/ 151638 h 428625"/>
              <a:gd name="connsiteX118" fmla="*/ 2399253 w 3867150"/>
              <a:gd name="connsiteY118" fmla="*/ 151638 h 428625"/>
              <a:gd name="connsiteX119" fmla="*/ 2418779 w 3867150"/>
              <a:gd name="connsiteY119" fmla="*/ 55531 h 428625"/>
              <a:gd name="connsiteX120" fmla="*/ 2476786 w 3867150"/>
              <a:gd name="connsiteY120" fmla="*/ 55531 h 428625"/>
              <a:gd name="connsiteX121" fmla="*/ 2514791 w 3867150"/>
              <a:gd name="connsiteY121" fmla="*/ 94583 h 428625"/>
              <a:gd name="connsiteX122" fmla="*/ 2578037 w 3867150"/>
              <a:gd name="connsiteY122" fmla="*/ 89345 h 428625"/>
              <a:gd name="connsiteX123" fmla="*/ 2487359 w 3867150"/>
              <a:gd name="connsiteY123" fmla="*/ 0 h 428625"/>
              <a:gd name="connsiteX124" fmla="*/ 2367058 w 3867150"/>
              <a:gd name="connsiteY124" fmla="*/ 0 h 428625"/>
              <a:gd name="connsiteX125" fmla="*/ 2299049 w 3867150"/>
              <a:gd name="connsiteY125" fmla="*/ 338328 h 428625"/>
              <a:gd name="connsiteX126" fmla="*/ 2361819 w 3867150"/>
              <a:gd name="connsiteY126" fmla="*/ 338328 h 428625"/>
              <a:gd name="connsiteX127" fmla="*/ 2387918 w 3867150"/>
              <a:gd name="connsiteY127" fmla="*/ 207169 h 428625"/>
              <a:gd name="connsiteX128" fmla="*/ 2453069 w 3867150"/>
              <a:gd name="connsiteY128" fmla="*/ 207169 h 428625"/>
              <a:gd name="connsiteX129" fmla="*/ 2578037 w 3867150"/>
              <a:gd name="connsiteY129" fmla="*/ 89345 h 428625"/>
              <a:gd name="connsiteX130" fmla="*/ 2105501 w 3867150"/>
              <a:gd name="connsiteY130" fmla="*/ 173546 h 428625"/>
              <a:gd name="connsiteX131" fmla="*/ 2101215 w 3867150"/>
              <a:gd name="connsiteY131" fmla="*/ 207740 h 428625"/>
              <a:gd name="connsiteX132" fmla="*/ 2048923 w 3867150"/>
              <a:gd name="connsiteY132" fmla="*/ 275272 h 428625"/>
              <a:gd name="connsiteX133" fmla="*/ 2019490 w 3867150"/>
              <a:gd name="connsiteY133" fmla="*/ 242506 h 428625"/>
              <a:gd name="connsiteX134" fmla="*/ 2023777 w 3867150"/>
              <a:gd name="connsiteY134" fmla="*/ 208312 h 428625"/>
              <a:gd name="connsiteX135" fmla="*/ 2076069 w 3867150"/>
              <a:gd name="connsiteY135" fmla="*/ 140779 h 428625"/>
              <a:gd name="connsiteX136" fmla="*/ 2105501 w 3867150"/>
              <a:gd name="connsiteY136" fmla="*/ 173546 h 428625"/>
              <a:gd name="connsiteX137" fmla="*/ 2105501 w 3867150"/>
              <a:gd name="connsiteY137" fmla="*/ 173546 h 428625"/>
              <a:gd name="connsiteX138" fmla="*/ 2183035 w 3867150"/>
              <a:gd name="connsiteY138" fmla="*/ 90773 h 428625"/>
              <a:gd name="connsiteX139" fmla="*/ 2125980 w 3867150"/>
              <a:gd name="connsiteY139" fmla="*/ 90773 h 428625"/>
              <a:gd name="connsiteX140" fmla="*/ 2121218 w 3867150"/>
              <a:gd name="connsiteY140" fmla="*/ 115919 h 428625"/>
              <a:gd name="connsiteX141" fmla="*/ 2065115 w 3867150"/>
              <a:gd name="connsiteY141" fmla="*/ 87821 h 428625"/>
              <a:gd name="connsiteX142" fmla="*/ 2001964 w 3867150"/>
              <a:gd name="connsiteY142" fmla="*/ 112490 h 428625"/>
              <a:gd name="connsiteX143" fmla="*/ 1964912 w 3867150"/>
              <a:gd name="connsiteY143" fmla="*/ 207550 h 428625"/>
              <a:gd name="connsiteX144" fmla="*/ 1958721 w 3867150"/>
              <a:gd name="connsiteY144" fmla="*/ 257937 h 428625"/>
              <a:gd name="connsiteX145" fmla="*/ 2027111 w 3867150"/>
              <a:gd name="connsiteY145" fmla="*/ 327755 h 428625"/>
              <a:gd name="connsiteX146" fmla="*/ 2082260 w 3867150"/>
              <a:gd name="connsiteY146" fmla="*/ 303086 h 428625"/>
              <a:gd name="connsiteX147" fmla="*/ 2077022 w 3867150"/>
              <a:gd name="connsiteY147" fmla="*/ 328231 h 428625"/>
              <a:gd name="connsiteX148" fmla="*/ 2016633 w 3867150"/>
              <a:gd name="connsiteY148" fmla="*/ 381953 h 428625"/>
              <a:gd name="connsiteX149" fmla="*/ 1975295 w 3867150"/>
              <a:gd name="connsiteY149" fmla="*/ 362426 h 428625"/>
              <a:gd name="connsiteX150" fmla="*/ 1934432 w 3867150"/>
              <a:gd name="connsiteY150" fmla="*/ 398050 h 428625"/>
              <a:gd name="connsiteX151" fmla="*/ 2016633 w 3867150"/>
              <a:gd name="connsiteY151" fmla="*/ 431768 h 428625"/>
              <a:gd name="connsiteX152" fmla="*/ 2135505 w 3867150"/>
              <a:gd name="connsiteY152" fmla="*/ 328613 h 428625"/>
              <a:gd name="connsiteX153" fmla="*/ 2183035 w 3867150"/>
              <a:gd name="connsiteY153" fmla="*/ 90773 h 428625"/>
              <a:gd name="connsiteX154" fmla="*/ 1924431 w 3867150"/>
              <a:gd name="connsiteY154" fmla="*/ 156305 h 428625"/>
              <a:gd name="connsiteX155" fmla="*/ 1861280 w 3867150"/>
              <a:gd name="connsiteY155" fmla="*/ 87916 h 428625"/>
              <a:gd name="connsiteX156" fmla="*/ 1796129 w 3867150"/>
              <a:gd name="connsiteY156" fmla="*/ 114490 h 428625"/>
              <a:gd name="connsiteX157" fmla="*/ 1800415 w 3867150"/>
              <a:gd name="connsiteY157" fmla="*/ 90773 h 428625"/>
              <a:gd name="connsiteX158" fmla="*/ 1743837 w 3867150"/>
              <a:gd name="connsiteY158" fmla="*/ 90773 h 428625"/>
              <a:gd name="connsiteX159" fmla="*/ 1694402 w 3867150"/>
              <a:gd name="connsiteY159" fmla="*/ 338328 h 428625"/>
              <a:gd name="connsiteX160" fmla="*/ 1753362 w 3867150"/>
              <a:gd name="connsiteY160" fmla="*/ 338328 h 428625"/>
              <a:gd name="connsiteX161" fmla="*/ 1783747 w 3867150"/>
              <a:gd name="connsiteY161" fmla="*/ 188119 h 428625"/>
              <a:gd name="connsiteX162" fmla="*/ 1834134 w 3867150"/>
              <a:gd name="connsiteY162" fmla="*/ 140589 h 428625"/>
              <a:gd name="connsiteX163" fmla="*/ 1863566 w 3867150"/>
              <a:gd name="connsiteY163" fmla="*/ 171450 h 428625"/>
              <a:gd name="connsiteX164" fmla="*/ 1861661 w 3867150"/>
              <a:gd name="connsiteY164" fmla="*/ 187642 h 428625"/>
              <a:gd name="connsiteX165" fmla="*/ 1831277 w 3867150"/>
              <a:gd name="connsiteY165" fmla="*/ 338328 h 428625"/>
              <a:gd name="connsiteX166" fmla="*/ 1890141 w 3867150"/>
              <a:gd name="connsiteY166" fmla="*/ 338328 h 428625"/>
              <a:gd name="connsiteX167" fmla="*/ 1921002 w 3867150"/>
              <a:gd name="connsiteY167" fmla="*/ 183832 h 428625"/>
              <a:gd name="connsiteX168" fmla="*/ 1924431 w 3867150"/>
              <a:gd name="connsiteY168" fmla="*/ 156305 h 428625"/>
              <a:gd name="connsiteX169" fmla="*/ 1702022 w 3867150"/>
              <a:gd name="connsiteY169" fmla="*/ 953 h 428625"/>
              <a:gd name="connsiteX170" fmla="*/ 1641157 w 3867150"/>
              <a:gd name="connsiteY170" fmla="*/ 953 h 428625"/>
              <a:gd name="connsiteX171" fmla="*/ 1631632 w 3867150"/>
              <a:gd name="connsiteY171" fmla="*/ 49816 h 428625"/>
              <a:gd name="connsiteX172" fmla="*/ 1692021 w 3867150"/>
              <a:gd name="connsiteY172" fmla="*/ 49816 h 428625"/>
              <a:gd name="connsiteX173" fmla="*/ 1702022 w 3867150"/>
              <a:gd name="connsiteY173" fmla="*/ 953 h 428625"/>
              <a:gd name="connsiteX174" fmla="*/ 1682115 w 3867150"/>
              <a:gd name="connsiteY174" fmla="*/ 98393 h 428625"/>
              <a:gd name="connsiteX175" fmla="*/ 1623155 w 3867150"/>
              <a:gd name="connsiteY175" fmla="*/ 98393 h 428625"/>
              <a:gd name="connsiteX176" fmla="*/ 1575149 w 3867150"/>
              <a:gd name="connsiteY176" fmla="*/ 338423 h 428625"/>
              <a:gd name="connsiteX177" fmla="*/ 1634109 w 3867150"/>
              <a:gd name="connsiteY177" fmla="*/ 338423 h 428625"/>
              <a:gd name="connsiteX178" fmla="*/ 1682115 w 3867150"/>
              <a:gd name="connsiteY178" fmla="*/ 98393 h 428625"/>
              <a:gd name="connsiteX179" fmla="*/ 1592199 w 3867150"/>
              <a:gd name="connsiteY179" fmla="*/ 111252 h 428625"/>
              <a:gd name="connsiteX180" fmla="*/ 1539431 w 3867150"/>
              <a:gd name="connsiteY180" fmla="*/ 88011 h 428625"/>
              <a:gd name="connsiteX181" fmla="*/ 1476661 w 3867150"/>
              <a:gd name="connsiteY181" fmla="*/ 115062 h 428625"/>
              <a:gd name="connsiteX182" fmla="*/ 1481900 w 3867150"/>
              <a:gd name="connsiteY182" fmla="*/ 90869 h 428625"/>
              <a:gd name="connsiteX183" fmla="*/ 1424845 w 3867150"/>
              <a:gd name="connsiteY183" fmla="*/ 90869 h 428625"/>
              <a:gd name="connsiteX184" fmla="*/ 1375410 w 3867150"/>
              <a:gd name="connsiteY184" fmla="*/ 338423 h 428625"/>
              <a:gd name="connsiteX185" fmla="*/ 1434370 w 3867150"/>
              <a:gd name="connsiteY185" fmla="*/ 338423 h 428625"/>
              <a:gd name="connsiteX186" fmla="*/ 1464278 w 3867150"/>
              <a:gd name="connsiteY186" fmla="*/ 188690 h 428625"/>
              <a:gd name="connsiteX187" fmla="*/ 1514189 w 3867150"/>
              <a:gd name="connsiteY187" fmla="*/ 141161 h 428625"/>
              <a:gd name="connsiteX188" fmla="*/ 1541240 w 3867150"/>
              <a:gd name="connsiteY188" fmla="*/ 156400 h 428625"/>
              <a:gd name="connsiteX189" fmla="*/ 1592199 w 3867150"/>
              <a:gd name="connsiteY189" fmla="*/ 111252 h 428625"/>
              <a:gd name="connsiteX190" fmla="*/ 1298067 w 3867150"/>
              <a:gd name="connsiteY190" fmla="*/ 176308 h 428625"/>
              <a:gd name="connsiteX191" fmla="*/ 1296638 w 3867150"/>
              <a:gd name="connsiteY191" fmla="*/ 192977 h 428625"/>
              <a:gd name="connsiteX192" fmla="*/ 1205770 w 3867150"/>
              <a:gd name="connsiteY192" fmla="*/ 192977 h 428625"/>
              <a:gd name="connsiteX193" fmla="*/ 1262825 w 3867150"/>
              <a:gd name="connsiteY193" fmla="*/ 136303 h 428625"/>
              <a:gd name="connsiteX194" fmla="*/ 1298067 w 3867150"/>
              <a:gd name="connsiteY194" fmla="*/ 176308 h 428625"/>
              <a:gd name="connsiteX195" fmla="*/ 1354074 w 3867150"/>
              <a:gd name="connsiteY195" fmla="*/ 176308 h 428625"/>
              <a:gd name="connsiteX196" fmla="*/ 1266158 w 3867150"/>
              <a:gd name="connsiteY196" fmla="*/ 87916 h 428625"/>
              <a:gd name="connsiteX197" fmla="*/ 1140238 w 3867150"/>
              <a:gd name="connsiteY197" fmla="*/ 254222 h 428625"/>
              <a:gd name="connsiteX198" fmla="*/ 1231964 w 3867150"/>
              <a:gd name="connsiteY198" fmla="*/ 341186 h 428625"/>
              <a:gd name="connsiteX199" fmla="*/ 1328452 w 3867150"/>
              <a:gd name="connsiteY199" fmla="*/ 305086 h 428625"/>
              <a:gd name="connsiteX200" fmla="*/ 1297591 w 3867150"/>
              <a:gd name="connsiteY200" fmla="*/ 266129 h 428625"/>
              <a:gd name="connsiteX201" fmla="*/ 1238631 w 3867150"/>
              <a:gd name="connsiteY201" fmla="*/ 291370 h 428625"/>
              <a:gd name="connsiteX202" fmla="*/ 1196340 w 3867150"/>
              <a:gd name="connsiteY202" fmla="*/ 249936 h 428625"/>
              <a:gd name="connsiteX203" fmla="*/ 1198245 w 3867150"/>
              <a:gd name="connsiteY203" fmla="*/ 232315 h 428625"/>
              <a:gd name="connsiteX204" fmla="*/ 1346549 w 3867150"/>
              <a:gd name="connsiteY204" fmla="*/ 232315 h 428625"/>
              <a:gd name="connsiteX205" fmla="*/ 1354074 w 3867150"/>
              <a:gd name="connsiteY205" fmla="*/ 176308 h 428625"/>
              <a:gd name="connsiteX206" fmla="*/ 1054227 w 3867150"/>
              <a:gd name="connsiteY206" fmla="*/ 176308 h 428625"/>
              <a:gd name="connsiteX207" fmla="*/ 1052798 w 3867150"/>
              <a:gd name="connsiteY207" fmla="*/ 192977 h 428625"/>
              <a:gd name="connsiteX208" fmla="*/ 961930 w 3867150"/>
              <a:gd name="connsiteY208" fmla="*/ 192977 h 428625"/>
              <a:gd name="connsiteX209" fmla="*/ 1018984 w 3867150"/>
              <a:gd name="connsiteY209" fmla="*/ 136303 h 428625"/>
              <a:gd name="connsiteX210" fmla="*/ 1054227 w 3867150"/>
              <a:gd name="connsiteY210" fmla="*/ 176308 h 428625"/>
              <a:gd name="connsiteX211" fmla="*/ 1110234 w 3867150"/>
              <a:gd name="connsiteY211" fmla="*/ 176308 h 428625"/>
              <a:gd name="connsiteX212" fmla="*/ 1022318 w 3867150"/>
              <a:gd name="connsiteY212" fmla="*/ 87916 h 428625"/>
              <a:gd name="connsiteX213" fmla="*/ 896398 w 3867150"/>
              <a:gd name="connsiteY213" fmla="*/ 254222 h 428625"/>
              <a:gd name="connsiteX214" fmla="*/ 988124 w 3867150"/>
              <a:gd name="connsiteY214" fmla="*/ 341186 h 428625"/>
              <a:gd name="connsiteX215" fmla="*/ 1084612 w 3867150"/>
              <a:gd name="connsiteY215" fmla="*/ 305086 h 428625"/>
              <a:gd name="connsiteX216" fmla="*/ 1053751 w 3867150"/>
              <a:gd name="connsiteY216" fmla="*/ 266129 h 428625"/>
              <a:gd name="connsiteX217" fmla="*/ 994791 w 3867150"/>
              <a:gd name="connsiteY217" fmla="*/ 291370 h 428625"/>
              <a:gd name="connsiteX218" fmla="*/ 952500 w 3867150"/>
              <a:gd name="connsiteY218" fmla="*/ 249936 h 428625"/>
              <a:gd name="connsiteX219" fmla="*/ 954405 w 3867150"/>
              <a:gd name="connsiteY219" fmla="*/ 232315 h 428625"/>
              <a:gd name="connsiteX220" fmla="*/ 1102709 w 3867150"/>
              <a:gd name="connsiteY220" fmla="*/ 232315 h 428625"/>
              <a:gd name="connsiteX221" fmla="*/ 1110234 w 3867150"/>
              <a:gd name="connsiteY221" fmla="*/ 176308 h 428625"/>
              <a:gd name="connsiteX222" fmla="*/ 863537 w 3867150"/>
              <a:gd name="connsiteY222" fmla="*/ 156305 h 428625"/>
              <a:gd name="connsiteX223" fmla="*/ 800386 w 3867150"/>
              <a:gd name="connsiteY223" fmla="*/ 87916 h 428625"/>
              <a:gd name="connsiteX224" fmla="*/ 735235 w 3867150"/>
              <a:gd name="connsiteY224" fmla="*/ 114490 h 428625"/>
              <a:gd name="connsiteX225" fmla="*/ 739521 w 3867150"/>
              <a:gd name="connsiteY225" fmla="*/ 90773 h 428625"/>
              <a:gd name="connsiteX226" fmla="*/ 682943 w 3867150"/>
              <a:gd name="connsiteY226" fmla="*/ 90773 h 428625"/>
              <a:gd name="connsiteX227" fmla="*/ 633508 w 3867150"/>
              <a:gd name="connsiteY227" fmla="*/ 338328 h 428625"/>
              <a:gd name="connsiteX228" fmla="*/ 692468 w 3867150"/>
              <a:gd name="connsiteY228" fmla="*/ 338328 h 428625"/>
              <a:gd name="connsiteX229" fmla="*/ 722852 w 3867150"/>
              <a:gd name="connsiteY229" fmla="*/ 188119 h 428625"/>
              <a:gd name="connsiteX230" fmla="*/ 773240 w 3867150"/>
              <a:gd name="connsiteY230" fmla="*/ 140589 h 428625"/>
              <a:gd name="connsiteX231" fmla="*/ 802672 w 3867150"/>
              <a:gd name="connsiteY231" fmla="*/ 171450 h 428625"/>
              <a:gd name="connsiteX232" fmla="*/ 800767 w 3867150"/>
              <a:gd name="connsiteY232" fmla="*/ 187642 h 428625"/>
              <a:gd name="connsiteX233" fmla="*/ 770382 w 3867150"/>
              <a:gd name="connsiteY233" fmla="*/ 338328 h 428625"/>
              <a:gd name="connsiteX234" fmla="*/ 829247 w 3867150"/>
              <a:gd name="connsiteY234" fmla="*/ 338328 h 428625"/>
              <a:gd name="connsiteX235" fmla="*/ 860108 w 3867150"/>
              <a:gd name="connsiteY235" fmla="*/ 183832 h 428625"/>
              <a:gd name="connsiteX236" fmla="*/ 863537 w 3867150"/>
              <a:gd name="connsiteY236" fmla="*/ 156305 h 428625"/>
              <a:gd name="connsiteX237" fmla="*/ 553688 w 3867150"/>
              <a:gd name="connsiteY237" fmla="*/ 176308 h 428625"/>
              <a:gd name="connsiteX238" fmla="*/ 548450 w 3867150"/>
              <a:gd name="connsiteY238" fmla="*/ 214313 h 428625"/>
              <a:gd name="connsiteX239" fmla="*/ 523208 w 3867150"/>
              <a:gd name="connsiteY239" fmla="*/ 276130 h 428625"/>
              <a:gd name="connsiteX240" fmla="*/ 492824 w 3867150"/>
              <a:gd name="connsiteY240" fmla="*/ 288512 h 428625"/>
              <a:gd name="connsiteX241" fmla="*/ 461391 w 3867150"/>
              <a:gd name="connsiteY241" fmla="*/ 252889 h 428625"/>
              <a:gd name="connsiteX242" fmla="*/ 466630 w 3867150"/>
              <a:gd name="connsiteY242" fmla="*/ 214408 h 428625"/>
              <a:gd name="connsiteX243" fmla="*/ 491871 w 3867150"/>
              <a:gd name="connsiteY243" fmla="*/ 153067 h 428625"/>
              <a:gd name="connsiteX244" fmla="*/ 522351 w 3867150"/>
              <a:gd name="connsiteY244" fmla="*/ 140684 h 428625"/>
              <a:gd name="connsiteX245" fmla="*/ 553688 w 3867150"/>
              <a:gd name="connsiteY245" fmla="*/ 176308 h 428625"/>
              <a:gd name="connsiteX246" fmla="*/ 612172 w 3867150"/>
              <a:gd name="connsiteY246" fmla="*/ 169640 h 428625"/>
              <a:gd name="connsiteX247" fmla="*/ 528542 w 3867150"/>
              <a:gd name="connsiteY247" fmla="*/ 87916 h 428625"/>
              <a:gd name="connsiteX248" fmla="*/ 452438 w 3867150"/>
              <a:gd name="connsiteY248" fmla="*/ 116396 h 428625"/>
              <a:gd name="connsiteX249" fmla="*/ 408242 w 3867150"/>
              <a:gd name="connsiteY249" fmla="*/ 214313 h 428625"/>
              <a:gd name="connsiteX250" fmla="*/ 403003 w 3867150"/>
              <a:gd name="connsiteY250" fmla="*/ 259461 h 428625"/>
              <a:gd name="connsiteX251" fmla="*/ 487109 w 3867150"/>
              <a:gd name="connsiteY251" fmla="*/ 341186 h 428625"/>
              <a:gd name="connsiteX252" fmla="*/ 563213 w 3867150"/>
              <a:gd name="connsiteY252" fmla="*/ 312706 h 428625"/>
              <a:gd name="connsiteX253" fmla="*/ 607409 w 3867150"/>
              <a:gd name="connsiteY253" fmla="*/ 214313 h 428625"/>
              <a:gd name="connsiteX254" fmla="*/ 612172 w 3867150"/>
              <a:gd name="connsiteY254" fmla="*/ 169640 h 428625"/>
              <a:gd name="connsiteX255" fmla="*/ 401098 w 3867150"/>
              <a:gd name="connsiteY255" fmla="*/ 953 h 428625"/>
              <a:gd name="connsiteX256" fmla="*/ 340233 w 3867150"/>
              <a:gd name="connsiteY256" fmla="*/ 953 h 428625"/>
              <a:gd name="connsiteX257" fmla="*/ 330708 w 3867150"/>
              <a:gd name="connsiteY257" fmla="*/ 49816 h 428625"/>
              <a:gd name="connsiteX258" fmla="*/ 391096 w 3867150"/>
              <a:gd name="connsiteY258" fmla="*/ 49816 h 428625"/>
              <a:gd name="connsiteX259" fmla="*/ 401098 w 3867150"/>
              <a:gd name="connsiteY259" fmla="*/ 953 h 428625"/>
              <a:gd name="connsiteX260" fmla="*/ 381191 w 3867150"/>
              <a:gd name="connsiteY260" fmla="*/ 98393 h 428625"/>
              <a:gd name="connsiteX261" fmla="*/ 322231 w 3867150"/>
              <a:gd name="connsiteY261" fmla="*/ 98393 h 428625"/>
              <a:gd name="connsiteX262" fmla="*/ 274225 w 3867150"/>
              <a:gd name="connsiteY262" fmla="*/ 338423 h 428625"/>
              <a:gd name="connsiteX263" fmla="*/ 333184 w 3867150"/>
              <a:gd name="connsiteY263" fmla="*/ 338423 h 428625"/>
              <a:gd name="connsiteX264" fmla="*/ 381191 w 3867150"/>
              <a:gd name="connsiteY264" fmla="*/ 98393 h 428625"/>
              <a:gd name="connsiteX265" fmla="*/ 215741 w 3867150"/>
              <a:gd name="connsiteY265" fmla="*/ 94583 h 428625"/>
              <a:gd name="connsiteX266" fmla="*/ 156305 w 3867150"/>
              <a:gd name="connsiteY266" fmla="*/ 151638 h 428625"/>
              <a:gd name="connsiteX267" fmla="*/ 100203 w 3867150"/>
              <a:gd name="connsiteY267" fmla="*/ 151638 h 428625"/>
              <a:gd name="connsiteX268" fmla="*/ 119729 w 3867150"/>
              <a:gd name="connsiteY268" fmla="*/ 55531 h 428625"/>
              <a:gd name="connsiteX269" fmla="*/ 177737 w 3867150"/>
              <a:gd name="connsiteY269" fmla="*/ 55531 h 428625"/>
              <a:gd name="connsiteX270" fmla="*/ 215741 w 3867150"/>
              <a:gd name="connsiteY270" fmla="*/ 94583 h 428625"/>
              <a:gd name="connsiteX271" fmla="*/ 278987 w 3867150"/>
              <a:gd name="connsiteY271" fmla="*/ 89345 h 428625"/>
              <a:gd name="connsiteX272" fmla="*/ 188214 w 3867150"/>
              <a:gd name="connsiteY272" fmla="*/ 0 h 428625"/>
              <a:gd name="connsiteX273" fmla="*/ 68008 w 3867150"/>
              <a:gd name="connsiteY273" fmla="*/ 0 h 428625"/>
              <a:gd name="connsiteX274" fmla="*/ 0 w 3867150"/>
              <a:gd name="connsiteY274" fmla="*/ 338328 h 428625"/>
              <a:gd name="connsiteX275" fmla="*/ 62770 w 3867150"/>
              <a:gd name="connsiteY275" fmla="*/ 338328 h 428625"/>
              <a:gd name="connsiteX276" fmla="*/ 88868 w 3867150"/>
              <a:gd name="connsiteY276" fmla="*/ 207169 h 428625"/>
              <a:gd name="connsiteX277" fmla="*/ 154019 w 3867150"/>
              <a:gd name="connsiteY277" fmla="*/ 207169 h 428625"/>
              <a:gd name="connsiteX278" fmla="*/ 278987 w 3867150"/>
              <a:gd name="connsiteY278" fmla="*/ 8934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3867150" h="428625">
                <a:moveTo>
                  <a:pt x="3869817" y="118300"/>
                </a:moveTo>
                <a:cubicBezTo>
                  <a:pt x="3848481" y="96488"/>
                  <a:pt x="3822764" y="87916"/>
                  <a:pt x="3787617" y="87916"/>
                </a:cubicBezTo>
                <a:cubicBezTo>
                  <a:pt x="3752374" y="87916"/>
                  <a:pt x="3723894" y="97917"/>
                  <a:pt x="3705416" y="116396"/>
                </a:cubicBezTo>
                <a:cubicBezTo>
                  <a:pt x="3688842" y="132969"/>
                  <a:pt x="3680270" y="155353"/>
                  <a:pt x="3680270" y="178213"/>
                </a:cubicBezTo>
                <a:cubicBezTo>
                  <a:pt x="3680270" y="201549"/>
                  <a:pt x="3694462" y="226695"/>
                  <a:pt x="3739610" y="234315"/>
                </a:cubicBezTo>
                <a:lnTo>
                  <a:pt x="3771995" y="239554"/>
                </a:lnTo>
                <a:cubicBezTo>
                  <a:pt x="3786283" y="241935"/>
                  <a:pt x="3795332" y="246697"/>
                  <a:pt x="3795332" y="260032"/>
                </a:cubicBezTo>
                <a:cubicBezTo>
                  <a:pt x="3795332" y="274796"/>
                  <a:pt x="3778663" y="290894"/>
                  <a:pt x="3744944" y="290894"/>
                </a:cubicBezTo>
                <a:cubicBezTo>
                  <a:pt x="3716941" y="290894"/>
                  <a:pt x="3700272" y="281369"/>
                  <a:pt x="3687985" y="267081"/>
                </a:cubicBezTo>
                <a:lnTo>
                  <a:pt x="3645694" y="304133"/>
                </a:lnTo>
                <a:cubicBezTo>
                  <a:pt x="3667601" y="327850"/>
                  <a:pt x="3697034" y="341186"/>
                  <a:pt x="3741135" y="341186"/>
                </a:cubicBezTo>
                <a:cubicBezTo>
                  <a:pt x="3773043" y="341186"/>
                  <a:pt x="3807238" y="333565"/>
                  <a:pt x="3827145" y="314134"/>
                </a:cubicBezTo>
                <a:cubicBezTo>
                  <a:pt x="3843338" y="298513"/>
                  <a:pt x="3853720" y="278987"/>
                  <a:pt x="3853720" y="254222"/>
                </a:cubicBezTo>
                <a:cubicBezTo>
                  <a:pt x="3853720" y="220028"/>
                  <a:pt x="3838004" y="197167"/>
                  <a:pt x="3793903" y="190024"/>
                </a:cubicBezTo>
                <a:lnTo>
                  <a:pt x="3761994" y="184785"/>
                </a:lnTo>
                <a:cubicBezTo>
                  <a:pt x="3746754" y="182404"/>
                  <a:pt x="3739134" y="176689"/>
                  <a:pt x="3739134" y="166211"/>
                </a:cubicBezTo>
                <a:cubicBezTo>
                  <a:pt x="3739134" y="150971"/>
                  <a:pt x="3752469" y="136303"/>
                  <a:pt x="3782377" y="136303"/>
                </a:cubicBezTo>
                <a:cubicBezTo>
                  <a:pt x="3799999" y="136303"/>
                  <a:pt x="3818001" y="142018"/>
                  <a:pt x="3829431" y="153924"/>
                </a:cubicBezTo>
                <a:lnTo>
                  <a:pt x="3869817" y="118300"/>
                </a:lnTo>
                <a:close/>
                <a:moveTo>
                  <a:pt x="3661220" y="122111"/>
                </a:moveTo>
                <a:cubicBezTo>
                  <a:pt x="3646456" y="103156"/>
                  <a:pt x="3624644" y="87916"/>
                  <a:pt x="3588544" y="87916"/>
                </a:cubicBezTo>
                <a:cubicBezTo>
                  <a:pt x="3538157" y="87916"/>
                  <a:pt x="3481197" y="113538"/>
                  <a:pt x="3462623" y="214313"/>
                </a:cubicBezTo>
                <a:cubicBezTo>
                  <a:pt x="3460242" y="227171"/>
                  <a:pt x="3458813" y="240982"/>
                  <a:pt x="3458813" y="252794"/>
                </a:cubicBezTo>
                <a:cubicBezTo>
                  <a:pt x="3458813" y="311277"/>
                  <a:pt x="3500628" y="341186"/>
                  <a:pt x="3547586" y="341186"/>
                </a:cubicBezTo>
                <a:cubicBezTo>
                  <a:pt x="3579400" y="341186"/>
                  <a:pt x="3608451" y="329279"/>
                  <a:pt x="3629311" y="309848"/>
                </a:cubicBezTo>
                <a:lnTo>
                  <a:pt x="3596545" y="267557"/>
                </a:lnTo>
                <a:cubicBezTo>
                  <a:pt x="3582734" y="281369"/>
                  <a:pt x="3569875" y="288512"/>
                  <a:pt x="3553301" y="288512"/>
                </a:cubicBezTo>
                <a:cubicBezTo>
                  <a:pt x="3530441" y="288512"/>
                  <a:pt x="3518154" y="272320"/>
                  <a:pt x="3518154" y="246221"/>
                </a:cubicBezTo>
                <a:cubicBezTo>
                  <a:pt x="3518154" y="234791"/>
                  <a:pt x="3519583" y="225266"/>
                  <a:pt x="3521488" y="214313"/>
                </a:cubicBezTo>
                <a:cubicBezTo>
                  <a:pt x="3525774" y="190976"/>
                  <a:pt x="3534823" y="169640"/>
                  <a:pt x="3547586" y="156305"/>
                </a:cubicBezTo>
                <a:cubicBezTo>
                  <a:pt x="3558064" y="145352"/>
                  <a:pt x="3569970" y="140589"/>
                  <a:pt x="3582734" y="140589"/>
                </a:cubicBezTo>
                <a:cubicBezTo>
                  <a:pt x="3597497" y="140589"/>
                  <a:pt x="3607499" y="148209"/>
                  <a:pt x="3616928" y="161068"/>
                </a:cubicBezTo>
                <a:lnTo>
                  <a:pt x="3661220" y="122111"/>
                </a:lnTo>
                <a:close/>
                <a:moveTo>
                  <a:pt x="3456813" y="953"/>
                </a:moveTo>
                <a:lnTo>
                  <a:pt x="3395948" y="953"/>
                </a:lnTo>
                <a:lnTo>
                  <a:pt x="3386423" y="49816"/>
                </a:lnTo>
                <a:lnTo>
                  <a:pt x="3446812" y="49816"/>
                </a:lnTo>
                <a:lnTo>
                  <a:pt x="3456813" y="953"/>
                </a:lnTo>
                <a:close/>
                <a:moveTo>
                  <a:pt x="3436906" y="98393"/>
                </a:moveTo>
                <a:lnTo>
                  <a:pt x="3377946" y="98393"/>
                </a:lnTo>
                <a:lnTo>
                  <a:pt x="3329940" y="338423"/>
                </a:lnTo>
                <a:lnTo>
                  <a:pt x="3388900" y="338423"/>
                </a:lnTo>
                <a:lnTo>
                  <a:pt x="3436906" y="98393"/>
                </a:lnTo>
                <a:close/>
                <a:moveTo>
                  <a:pt x="3328035" y="98393"/>
                </a:moveTo>
                <a:lnTo>
                  <a:pt x="3287173" y="98393"/>
                </a:lnTo>
                <a:lnTo>
                  <a:pt x="3301937" y="24289"/>
                </a:lnTo>
                <a:lnTo>
                  <a:pt x="3242977" y="24289"/>
                </a:lnTo>
                <a:lnTo>
                  <a:pt x="3228213" y="98393"/>
                </a:lnTo>
                <a:lnTo>
                  <a:pt x="3203067" y="98393"/>
                </a:lnTo>
                <a:lnTo>
                  <a:pt x="3194019" y="142970"/>
                </a:lnTo>
                <a:lnTo>
                  <a:pt x="3219164" y="142970"/>
                </a:lnTo>
                <a:lnTo>
                  <a:pt x="3194971" y="264223"/>
                </a:lnTo>
                <a:cubicBezTo>
                  <a:pt x="3194019" y="269462"/>
                  <a:pt x="3193066" y="276130"/>
                  <a:pt x="3193066" y="284702"/>
                </a:cubicBezTo>
                <a:cubicBezTo>
                  <a:pt x="3193066" y="318421"/>
                  <a:pt x="3218688" y="338328"/>
                  <a:pt x="3252883" y="338328"/>
                </a:cubicBezTo>
                <a:lnTo>
                  <a:pt x="3283268" y="338328"/>
                </a:lnTo>
                <a:lnTo>
                  <a:pt x="3293269" y="288988"/>
                </a:lnTo>
                <a:lnTo>
                  <a:pt x="3271933" y="288988"/>
                </a:lnTo>
                <a:cubicBezTo>
                  <a:pt x="3259074" y="288988"/>
                  <a:pt x="3252883" y="283750"/>
                  <a:pt x="3252883" y="273748"/>
                </a:cubicBezTo>
                <a:cubicBezTo>
                  <a:pt x="3252883" y="271367"/>
                  <a:pt x="3252883" y="269462"/>
                  <a:pt x="3253836" y="264700"/>
                </a:cubicBezTo>
                <a:lnTo>
                  <a:pt x="3278029" y="142970"/>
                </a:lnTo>
                <a:lnTo>
                  <a:pt x="3318891" y="142970"/>
                </a:lnTo>
                <a:lnTo>
                  <a:pt x="3328035" y="98393"/>
                </a:lnTo>
                <a:close/>
                <a:moveTo>
                  <a:pt x="3163062" y="118300"/>
                </a:moveTo>
                <a:cubicBezTo>
                  <a:pt x="3141726" y="96488"/>
                  <a:pt x="3116009" y="87916"/>
                  <a:pt x="3080861" y="87916"/>
                </a:cubicBezTo>
                <a:cubicBezTo>
                  <a:pt x="3045619" y="87916"/>
                  <a:pt x="3017139" y="97917"/>
                  <a:pt x="2998565" y="116396"/>
                </a:cubicBezTo>
                <a:cubicBezTo>
                  <a:pt x="2981992" y="132969"/>
                  <a:pt x="2973420" y="155353"/>
                  <a:pt x="2973420" y="178213"/>
                </a:cubicBezTo>
                <a:cubicBezTo>
                  <a:pt x="2973420" y="201549"/>
                  <a:pt x="2987707" y="226695"/>
                  <a:pt x="3032760" y="234315"/>
                </a:cubicBezTo>
                <a:lnTo>
                  <a:pt x="3065145" y="239554"/>
                </a:lnTo>
                <a:cubicBezTo>
                  <a:pt x="3079433" y="241935"/>
                  <a:pt x="3088481" y="246697"/>
                  <a:pt x="3088481" y="260032"/>
                </a:cubicBezTo>
                <a:cubicBezTo>
                  <a:pt x="3088481" y="274796"/>
                  <a:pt x="3071813" y="290894"/>
                  <a:pt x="3037999" y="290894"/>
                </a:cubicBezTo>
                <a:cubicBezTo>
                  <a:pt x="3009995" y="290894"/>
                  <a:pt x="2993327" y="281369"/>
                  <a:pt x="2981039" y="267081"/>
                </a:cubicBezTo>
                <a:lnTo>
                  <a:pt x="2938748" y="304133"/>
                </a:lnTo>
                <a:cubicBezTo>
                  <a:pt x="2960656" y="327850"/>
                  <a:pt x="2990088" y="341186"/>
                  <a:pt x="3034189" y="341186"/>
                </a:cubicBezTo>
                <a:cubicBezTo>
                  <a:pt x="3066098" y="341186"/>
                  <a:pt x="3100292" y="333565"/>
                  <a:pt x="3120295" y="314134"/>
                </a:cubicBezTo>
                <a:cubicBezTo>
                  <a:pt x="3136392" y="298513"/>
                  <a:pt x="3146870" y="278987"/>
                  <a:pt x="3146870" y="254222"/>
                </a:cubicBezTo>
                <a:cubicBezTo>
                  <a:pt x="3146870" y="220028"/>
                  <a:pt x="3131153" y="197167"/>
                  <a:pt x="3087053" y="190024"/>
                </a:cubicBezTo>
                <a:lnTo>
                  <a:pt x="3055144" y="184785"/>
                </a:lnTo>
                <a:cubicBezTo>
                  <a:pt x="3039904" y="182404"/>
                  <a:pt x="3032284" y="176689"/>
                  <a:pt x="3032284" y="166211"/>
                </a:cubicBezTo>
                <a:cubicBezTo>
                  <a:pt x="3032284" y="150971"/>
                  <a:pt x="3045619" y="136303"/>
                  <a:pt x="3075623" y="136303"/>
                </a:cubicBezTo>
                <a:cubicBezTo>
                  <a:pt x="3093244" y="136303"/>
                  <a:pt x="3111246" y="142018"/>
                  <a:pt x="3122676" y="153924"/>
                </a:cubicBezTo>
                <a:lnTo>
                  <a:pt x="3163062" y="118300"/>
                </a:lnTo>
                <a:close/>
                <a:moveTo>
                  <a:pt x="2858453" y="231934"/>
                </a:moveTo>
                <a:lnTo>
                  <a:pt x="2855595" y="246697"/>
                </a:lnTo>
                <a:cubicBezTo>
                  <a:pt x="2853214" y="259080"/>
                  <a:pt x="2848451" y="270415"/>
                  <a:pt x="2840831" y="278035"/>
                </a:cubicBezTo>
                <a:cubicBezTo>
                  <a:pt x="2831783" y="287083"/>
                  <a:pt x="2818448" y="293275"/>
                  <a:pt x="2802350" y="293275"/>
                </a:cubicBezTo>
                <a:cubicBezTo>
                  <a:pt x="2780919" y="293275"/>
                  <a:pt x="2770918" y="283750"/>
                  <a:pt x="2770918" y="269938"/>
                </a:cubicBezTo>
                <a:cubicBezTo>
                  <a:pt x="2770918" y="248031"/>
                  <a:pt x="2786634" y="231838"/>
                  <a:pt x="2813209" y="231838"/>
                </a:cubicBezTo>
                <a:lnTo>
                  <a:pt x="2858453" y="231838"/>
                </a:lnTo>
                <a:close/>
                <a:moveTo>
                  <a:pt x="2930652" y="156877"/>
                </a:moveTo>
                <a:cubicBezTo>
                  <a:pt x="2930652" y="104108"/>
                  <a:pt x="2884075" y="88011"/>
                  <a:pt x="2842736" y="88011"/>
                </a:cubicBezTo>
                <a:cubicBezTo>
                  <a:pt x="2796636" y="88011"/>
                  <a:pt x="2770918" y="100870"/>
                  <a:pt x="2751011" y="121253"/>
                </a:cubicBezTo>
                <a:lnTo>
                  <a:pt x="2781395" y="160687"/>
                </a:lnTo>
                <a:cubicBezTo>
                  <a:pt x="2793778" y="146875"/>
                  <a:pt x="2810447" y="137350"/>
                  <a:pt x="2834640" y="137350"/>
                </a:cubicBezTo>
                <a:cubicBezTo>
                  <a:pt x="2859405" y="137350"/>
                  <a:pt x="2871311" y="147352"/>
                  <a:pt x="2871311" y="164021"/>
                </a:cubicBezTo>
                <a:cubicBezTo>
                  <a:pt x="2871311" y="168783"/>
                  <a:pt x="2870835" y="172117"/>
                  <a:pt x="2869883" y="176879"/>
                </a:cubicBezTo>
                <a:lnTo>
                  <a:pt x="2866549" y="191643"/>
                </a:lnTo>
                <a:lnTo>
                  <a:pt x="2807589" y="191643"/>
                </a:lnTo>
                <a:cubicBezTo>
                  <a:pt x="2779014" y="191643"/>
                  <a:pt x="2753868" y="199263"/>
                  <a:pt x="2735390" y="217265"/>
                </a:cubicBezTo>
                <a:cubicBezTo>
                  <a:pt x="2721102" y="231457"/>
                  <a:pt x="2713101" y="251460"/>
                  <a:pt x="2713101" y="275749"/>
                </a:cubicBezTo>
                <a:cubicBezTo>
                  <a:pt x="2713101" y="313277"/>
                  <a:pt x="2740628" y="340805"/>
                  <a:pt x="2783872" y="340805"/>
                </a:cubicBezTo>
                <a:cubicBezTo>
                  <a:pt x="2811018" y="340805"/>
                  <a:pt x="2829973" y="330327"/>
                  <a:pt x="2843784" y="316611"/>
                </a:cubicBezTo>
                <a:lnTo>
                  <a:pt x="2839498" y="338423"/>
                </a:lnTo>
                <a:lnTo>
                  <a:pt x="2896076" y="338423"/>
                </a:lnTo>
                <a:lnTo>
                  <a:pt x="2928366" y="178784"/>
                </a:lnTo>
                <a:cubicBezTo>
                  <a:pt x="2929700" y="172021"/>
                  <a:pt x="2930652" y="163544"/>
                  <a:pt x="2930652" y="156877"/>
                </a:cubicBezTo>
                <a:moveTo>
                  <a:pt x="2697766" y="0"/>
                </a:moveTo>
                <a:lnTo>
                  <a:pt x="2638806" y="0"/>
                </a:lnTo>
                <a:lnTo>
                  <a:pt x="2586133" y="264223"/>
                </a:lnTo>
                <a:cubicBezTo>
                  <a:pt x="2584704" y="270891"/>
                  <a:pt x="2584228" y="277082"/>
                  <a:pt x="2584228" y="284702"/>
                </a:cubicBezTo>
                <a:cubicBezTo>
                  <a:pt x="2584228" y="318421"/>
                  <a:pt x="2609374" y="338328"/>
                  <a:pt x="2643569" y="338328"/>
                </a:cubicBezTo>
                <a:lnTo>
                  <a:pt x="2675858" y="338328"/>
                </a:lnTo>
                <a:lnTo>
                  <a:pt x="2685860" y="288512"/>
                </a:lnTo>
                <a:lnTo>
                  <a:pt x="2661666" y="288512"/>
                </a:lnTo>
                <a:cubicBezTo>
                  <a:pt x="2648807" y="288512"/>
                  <a:pt x="2643569" y="283273"/>
                  <a:pt x="2643569" y="274225"/>
                </a:cubicBezTo>
                <a:cubicBezTo>
                  <a:pt x="2643569" y="270415"/>
                  <a:pt x="2644045" y="268033"/>
                  <a:pt x="2644997" y="263747"/>
                </a:cubicBezTo>
                <a:lnTo>
                  <a:pt x="2697766" y="0"/>
                </a:lnTo>
                <a:close/>
                <a:moveTo>
                  <a:pt x="2514791" y="94583"/>
                </a:moveTo>
                <a:cubicBezTo>
                  <a:pt x="2514791" y="120301"/>
                  <a:pt x="2496217" y="151638"/>
                  <a:pt x="2455355" y="151638"/>
                </a:cubicBezTo>
                <a:lnTo>
                  <a:pt x="2399253" y="151638"/>
                </a:lnTo>
                <a:lnTo>
                  <a:pt x="2418779" y="55531"/>
                </a:lnTo>
                <a:lnTo>
                  <a:pt x="2476786" y="55531"/>
                </a:lnTo>
                <a:cubicBezTo>
                  <a:pt x="2504885" y="55531"/>
                  <a:pt x="2514791" y="73152"/>
                  <a:pt x="2514791" y="94583"/>
                </a:cubicBezTo>
                <a:moveTo>
                  <a:pt x="2578037" y="89345"/>
                </a:moveTo>
                <a:cubicBezTo>
                  <a:pt x="2578037" y="36576"/>
                  <a:pt x="2544795" y="0"/>
                  <a:pt x="2487359" y="0"/>
                </a:cubicBezTo>
                <a:lnTo>
                  <a:pt x="2367058" y="0"/>
                </a:lnTo>
                <a:lnTo>
                  <a:pt x="2299049" y="338328"/>
                </a:lnTo>
                <a:lnTo>
                  <a:pt x="2361819" y="338328"/>
                </a:lnTo>
                <a:lnTo>
                  <a:pt x="2387918" y="207169"/>
                </a:lnTo>
                <a:lnTo>
                  <a:pt x="2453069" y="207169"/>
                </a:lnTo>
                <a:cubicBezTo>
                  <a:pt x="2534317" y="207169"/>
                  <a:pt x="2578037" y="149733"/>
                  <a:pt x="2578037" y="89345"/>
                </a:cubicBezTo>
                <a:moveTo>
                  <a:pt x="2105501" y="173546"/>
                </a:moveTo>
                <a:cubicBezTo>
                  <a:pt x="2105501" y="181165"/>
                  <a:pt x="2104073" y="192596"/>
                  <a:pt x="2101215" y="207740"/>
                </a:cubicBezTo>
                <a:cubicBezTo>
                  <a:pt x="2092643" y="252413"/>
                  <a:pt x="2079307" y="275272"/>
                  <a:pt x="2048923" y="275272"/>
                </a:cubicBezTo>
                <a:cubicBezTo>
                  <a:pt x="2027111" y="275272"/>
                  <a:pt x="2019490" y="260985"/>
                  <a:pt x="2019490" y="242506"/>
                </a:cubicBezTo>
                <a:cubicBezTo>
                  <a:pt x="2019490" y="234887"/>
                  <a:pt x="2020919" y="223456"/>
                  <a:pt x="2023777" y="208312"/>
                </a:cubicBezTo>
                <a:cubicBezTo>
                  <a:pt x="2032349" y="163639"/>
                  <a:pt x="2045589" y="140779"/>
                  <a:pt x="2076069" y="140779"/>
                </a:cubicBezTo>
                <a:cubicBezTo>
                  <a:pt x="2096072" y="140684"/>
                  <a:pt x="2105501" y="152971"/>
                  <a:pt x="2105501" y="173546"/>
                </a:cubicBezTo>
                <a:lnTo>
                  <a:pt x="2105501" y="173546"/>
                </a:lnTo>
                <a:close/>
                <a:moveTo>
                  <a:pt x="2183035" y="90773"/>
                </a:moveTo>
                <a:lnTo>
                  <a:pt x="2125980" y="90773"/>
                </a:lnTo>
                <a:lnTo>
                  <a:pt x="2121218" y="115919"/>
                </a:lnTo>
                <a:cubicBezTo>
                  <a:pt x="2109788" y="97346"/>
                  <a:pt x="2090833" y="87821"/>
                  <a:pt x="2065115" y="87821"/>
                </a:cubicBezTo>
                <a:cubicBezTo>
                  <a:pt x="2042827" y="87821"/>
                  <a:pt x="2020443" y="94012"/>
                  <a:pt x="2001964" y="112490"/>
                </a:cubicBezTo>
                <a:cubicBezTo>
                  <a:pt x="1983010" y="131445"/>
                  <a:pt x="1973485" y="160020"/>
                  <a:pt x="1964912" y="207550"/>
                </a:cubicBezTo>
                <a:cubicBezTo>
                  <a:pt x="1961102" y="228505"/>
                  <a:pt x="1958721" y="246031"/>
                  <a:pt x="1958721" y="257937"/>
                </a:cubicBezTo>
                <a:cubicBezTo>
                  <a:pt x="1958721" y="304514"/>
                  <a:pt x="1990535" y="327755"/>
                  <a:pt x="2027111" y="327755"/>
                </a:cubicBezTo>
                <a:cubicBezTo>
                  <a:pt x="2051876" y="327755"/>
                  <a:pt x="2069402" y="318230"/>
                  <a:pt x="2082260" y="303086"/>
                </a:cubicBezTo>
                <a:lnTo>
                  <a:pt x="2077022" y="328231"/>
                </a:lnTo>
                <a:cubicBezTo>
                  <a:pt x="2070354" y="360140"/>
                  <a:pt x="2049494" y="381953"/>
                  <a:pt x="2016633" y="381953"/>
                </a:cubicBezTo>
                <a:cubicBezTo>
                  <a:pt x="1993392" y="381953"/>
                  <a:pt x="1982914" y="370999"/>
                  <a:pt x="1975295" y="362426"/>
                </a:cubicBezTo>
                <a:lnTo>
                  <a:pt x="1934432" y="398050"/>
                </a:lnTo>
                <a:cubicBezTo>
                  <a:pt x="1955387" y="421767"/>
                  <a:pt x="1980533" y="431768"/>
                  <a:pt x="2016633" y="431768"/>
                </a:cubicBezTo>
                <a:cubicBezTo>
                  <a:pt x="2073688" y="431768"/>
                  <a:pt x="2121218" y="400907"/>
                  <a:pt x="2135505" y="328613"/>
                </a:cubicBezTo>
                <a:lnTo>
                  <a:pt x="2183035" y="90773"/>
                </a:lnTo>
                <a:close/>
                <a:moveTo>
                  <a:pt x="1924431" y="156305"/>
                </a:moveTo>
                <a:cubicBezTo>
                  <a:pt x="1924431" y="107347"/>
                  <a:pt x="1890236" y="87916"/>
                  <a:pt x="1861280" y="87916"/>
                </a:cubicBezTo>
                <a:cubicBezTo>
                  <a:pt x="1835563" y="87916"/>
                  <a:pt x="1811846" y="97441"/>
                  <a:pt x="1796129" y="114490"/>
                </a:cubicBezTo>
                <a:lnTo>
                  <a:pt x="1800415" y="90773"/>
                </a:lnTo>
                <a:lnTo>
                  <a:pt x="1743837" y="90773"/>
                </a:lnTo>
                <a:lnTo>
                  <a:pt x="1694402" y="338328"/>
                </a:lnTo>
                <a:lnTo>
                  <a:pt x="1753362" y="338328"/>
                </a:lnTo>
                <a:lnTo>
                  <a:pt x="1783747" y="188119"/>
                </a:lnTo>
                <a:cubicBezTo>
                  <a:pt x="1791367" y="149066"/>
                  <a:pt x="1816989" y="140589"/>
                  <a:pt x="1834134" y="140589"/>
                </a:cubicBezTo>
                <a:cubicBezTo>
                  <a:pt x="1849374" y="140589"/>
                  <a:pt x="1863566" y="150114"/>
                  <a:pt x="1863566" y="171450"/>
                </a:cubicBezTo>
                <a:cubicBezTo>
                  <a:pt x="1863566" y="176213"/>
                  <a:pt x="1862614" y="181928"/>
                  <a:pt x="1861661" y="187642"/>
                </a:cubicBezTo>
                <a:lnTo>
                  <a:pt x="1831277" y="338328"/>
                </a:lnTo>
                <a:lnTo>
                  <a:pt x="1890141" y="338328"/>
                </a:lnTo>
                <a:lnTo>
                  <a:pt x="1921002" y="183832"/>
                </a:lnTo>
                <a:cubicBezTo>
                  <a:pt x="1923002" y="175831"/>
                  <a:pt x="1924431" y="165354"/>
                  <a:pt x="1924431" y="156305"/>
                </a:cubicBezTo>
                <a:moveTo>
                  <a:pt x="1702022" y="953"/>
                </a:moveTo>
                <a:lnTo>
                  <a:pt x="1641157" y="953"/>
                </a:lnTo>
                <a:lnTo>
                  <a:pt x="1631632" y="49816"/>
                </a:lnTo>
                <a:lnTo>
                  <a:pt x="1692021" y="49816"/>
                </a:lnTo>
                <a:lnTo>
                  <a:pt x="1702022" y="953"/>
                </a:lnTo>
                <a:close/>
                <a:moveTo>
                  <a:pt x="1682115" y="98393"/>
                </a:moveTo>
                <a:lnTo>
                  <a:pt x="1623155" y="98393"/>
                </a:lnTo>
                <a:lnTo>
                  <a:pt x="1575149" y="338423"/>
                </a:lnTo>
                <a:lnTo>
                  <a:pt x="1634109" y="338423"/>
                </a:lnTo>
                <a:lnTo>
                  <a:pt x="1682115" y="98393"/>
                </a:lnTo>
                <a:close/>
                <a:moveTo>
                  <a:pt x="1592199" y="111252"/>
                </a:moveTo>
                <a:cubicBezTo>
                  <a:pt x="1578864" y="95536"/>
                  <a:pt x="1563243" y="88011"/>
                  <a:pt x="1539431" y="88011"/>
                </a:cubicBezTo>
                <a:cubicBezTo>
                  <a:pt x="1513713" y="88011"/>
                  <a:pt x="1490472" y="98488"/>
                  <a:pt x="1476661" y="115062"/>
                </a:cubicBezTo>
                <a:lnTo>
                  <a:pt x="1481900" y="90869"/>
                </a:lnTo>
                <a:lnTo>
                  <a:pt x="1424845" y="90869"/>
                </a:lnTo>
                <a:lnTo>
                  <a:pt x="1375410" y="338423"/>
                </a:lnTo>
                <a:lnTo>
                  <a:pt x="1434370" y="338423"/>
                </a:lnTo>
                <a:lnTo>
                  <a:pt x="1464278" y="188690"/>
                </a:lnTo>
                <a:cubicBezTo>
                  <a:pt x="1469993" y="160115"/>
                  <a:pt x="1490853" y="141161"/>
                  <a:pt x="1514189" y="141161"/>
                </a:cubicBezTo>
                <a:cubicBezTo>
                  <a:pt x="1527048" y="141161"/>
                  <a:pt x="1535144" y="148304"/>
                  <a:pt x="1541240" y="156400"/>
                </a:cubicBezTo>
                <a:lnTo>
                  <a:pt x="1592199" y="111252"/>
                </a:lnTo>
                <a:close/>
                <a:moveTo>
                  <a:pt x="1298067" y="176308"/>
                </a:moveTo>
                <a:cubicBezTo>
                  <a:pt x="1298067" y="181546"/>
                  <a:pt x="1297591" y="187738"/>
                  <a:pt x="1296638" y="192977"/>
                </a:cubicBezTo>
                <a:lnTo>
                  <a:pt x="1205770" y="192977"/>
                </a:lnTo>
                <a:cubicBezTo>
                  <a:pt x="1216724" y="152495"/>
                  <a:pt x="1237679" y="136303"/>
                  <a:pt x="1262825" y="136303"/>
                </a:cubicBezTo>
                <a:cubicBezTo>
                  <a:pt x="1283780" y="136398"/>
                  <a:pt x="1298067" y="150209"/>
                  <a:pt x="1298067" y="176308"/>
                </a:cubicBezTo>
                <a:moveTo>
                  <a:pt x="1354074" y="176308"/>
                </a:moveTo>
                <a:cubicBezTo>
                  <a:pt x="1354074" y="122587"/>
                  <a:pt x="1318451" y="87916"/>
                  <a:pt x="1266158" y="87916"/>
                </a:cubicBezTo>
                <a:cubicBezTo>
                  <a:pt x="1180529" y="87916"/>
                  <a:pt x="1140238" y="171069"/>
                  <a:pt x="1140238" y="254222"/>
                </a:cubicBezTo>
                <a:cubicBezTo>
                  <a:pt x="1140238" y="319373"/>
                  <a:pt x="1189101" y="341186"/>
                  <a:pt x="1231964" y="341186"/>
                </a:cubicBezTo>
                <a:cubicBezTo>
                  <a:pt x="1269111" y="341186"/>
                  <a:pt x="1302830" y="328803"/>
                  <a:pt x="1328452" y="305086"/>
                </a:cubicBezTo>
                <a:lnTo>
                  <a:pt x="1297591" y="266129"/>
                </a:lnTo>
                <a:cubicBezTo>
                  <a:pt x="1280446" y="282797"/>
                  <a:pt x="1262348" y="291370"/>
                  <a:pt x="1238631" y="291370"/>
                </a:cubicBezTo>
                <a:cubicBezTo>
                  <a:pt x="1210056" y="291370"/>
                  <a:pt x="1196340" y="274225"/>
                  <a:pt x="1196340" y="249936"/>
                </a:cubicBezTo>
                <a:cubicBezTo>
                  <a:pt x="1196340" y="244221"/>
                  <a:pt x="1197293" y="238030"/>
                  <a:pt x="1198245" y="232315"/>
                </a:cubicBezTo>
                <a:lnTo>
                  <a:pt x="1346549" y="232315"/>
                </a:lnTo>
                <a:cubicBezTo>
                  <a:pt x="1350740" y="213360"/>
                  <a:pt x="1354074" y="192977"/>
                  <a:pt x="1354074" y="176308"/>
                </a:cubicBezTo>
                <a:moveTo>
                  <a:pt x="1054227" y="176308"/>
                </a:moveTo>
                <a:cubicBezTo>
                  <a:pt x="1054227" y="181546"/>
                  <a:pt x="1053751" y="187738"/>
                  <a:pt x="1052798" y="192977"/>
                </a:cubicBezTo>
                <a:lnTo>
                  <a:pt x="961930" y="192977"/>
                </a:lnTo>
                <a:cubicBezTo>
                  <a:pt x="972884" y="152495"/>
                  <a:pt x="993838" y="136303"/>
                  <a:pt x="1018984" y="136303"/>
                </a:cubicBezTo>
                <a:cubicBezTo>
                  <a:pt x="1039940" y="136398"/>
                  <a:pt x="1054227" y="150209"/>
                  <a:pt x="1054227" y="176308"/>
                </a:cubicBezTo>
                <a:moveTo>
                  <a:pt x="1110234" y="176308"/>
                </a:moveTo>
                <a:cubicBezTo>
                  <a:pt x="1110234" y="122587"/>
                  <a:pt x="1074611" y="87916"/>
                  <a:pt x="1022318" y="87916"/>
                </a:cubicBezTo>
                <a:cubicBezTo>
                  <a:pt x="936688" y="87916"/>
                  <a:pt x="896398" y="171069"/>
                  <a:pt x="896398" y="254222"/>
                </a:cubicBezTo>
                <a:cubicBezTo>
                  <a:pt x="896398" y="319373"/>
                  <a:pt x="945261" y="341186"/>
                  <a:pt x="988124" y="341186"/>
                </a:cubicBezTo>
                <a:cubicBezTo>
                  <a:pt x="1025176" y="341186"/>
                  <a:pt x="1058990" y="328803"/>
                  <a:pt x="1084612" y="305086"/>
                </a:cubicBezTo>
                <a:lnTo>
                  <a:pt x="1053751" y="266129"/>
                </a:lnTo>
                <a:cubicBezTo>
                  <a:pt x="1036606" y="282797"/>
                  <a:pt x="1018604" y="291370"/>
                  <a:pt x="994791" y="291370"/>
                </a:cubicBezTo>
                <a:cubicBezTo>
                  <a:pt x="966216" y="291370"/>
                  <a:pt x="952500" y="274225"/>
                  <a:pt x="952500" y="249936"/>
                </a:cubicBezTo>
                <a:cubicBezTo>
                  <a:pt x="952500" y="244221"/>
                  <a:pt x="953453" y="238030"/>
                  <a:pt x="954405" y="232315"/>
                </a:cubicBezTo>
                <a:lnTo>
                  <a:pt x="1102709" y="232315"/>
                </a:lnTo>
                <a:cubicBezTo>
                  <a:pt x="1106900" y="213360"/>
                  <a:pt x="1110234" y="192977"/>
                  <a:pt x="1110234" y="176308"/>
                </a:cubicBezTo>
                <a:moveTo>
                  <a:pt x="863537" y="156305"/>
                </a:moveTo>
                <a:cubicBezTo>
                  <a:pt x="863537" y="107347"/>
                  <a:pt x="829342" y="87916"/>
                  <a:pt x="800386" y="87916"/>
                </a:cubicBezTo>
                <a:cubicBezTo>
                  <a:pt x="774763" y="87916"/>
                  <a:pt x="750951" y="97441"/>
                  <a:pt x="735235" y="114490"/>
                </a:cubicBezTo>
                <a:lnTo>
                  <a:pt x="739521" y="90773"/>
                </a:lnTo>
                <a:lnTo>
                  <a:pt x="682943" y="90773"/>
                </a:lnTo>
                <a:lnTo>
                  <a:pt x="633508" y="338328"/>
                </a:lnTo>
                <a:lnTo>
                  <a:pt x="692468" y="338328"/>
                </a:lnTo>
                <a:lnTo>
                  <a:pt x="722852" y="188119"/>
                </a:lnTo>
                <a:cubicBezTo>
                  <a:pt x="730472" y="149066"/>
                  <a:pt x="756095" y="140589"/>
                  <a:pt x="773240" y="140589"/>
                </a:cubicBezTo>
                <a:cubicBezTo>
                  <a:pt x="788480" y="140589"/>
                  <a:pt x="802672" y="150114"/>
                  <a:pt x="802672" y="171450"/>
                </a:cubicBezTo>
                <a:cubicBezTo>
                  <a:pt x="802672" y="176213"/>
                  <a:pt x="801719" y="181928"/>
                  <a:pt x="800767" y="187642"/>
                </a:cubicBezTo>
                <a:lnTo>
                  <a:pt x="770382" y="338328"/>
                </a:lnTo>
                <a:lnTo>
                  <a:pt x="829247" y="338328"/>
                </a:lnTo>
                <a:lnTo>
                  <a:pt x="860108" y="183832"/>
                </a:lnTo>
                <a:cubicBezTo>
                  <a:pt x="862108" y="175831"/>
                  <a:pt x="863537" y="165354"/>
                  <a:pt x="863537" y="156305"/>
                </a:cubicBezTo>
                <a:moveTo>
                  <a:pt x="553688" y="176308"/>
                </a:moveTo>
                <a:cubicBezTo>
                  <a:pt x="553688" y="181546"/>
                  <a:pt x="552736" y="193453"/>
                  <a:pt x="548450" y="214313"/>
                </a:cubicBezTo>
                <a:cubicBezTo>
                  <a:pt x="542734" y="245269"/>
                  <a:pt x="535115" y="264700"/>
                  <a:pt x="523208" y="276130"/>
                </a:cubicBezTo>
                <a:cubicBezTo>
                  <a:pt x="515588" y="283750"/>
                  <a:pt x="505111" y="288512"/>
                  <a:pt x="492824" y="288512"/>
                </a:cubicBezTo>
                <a:cubicBezTo>
                  <a:pt x="474250" y="288512"/>
                  <a:pt x="461391" y="276606"/>
                  <a:pt x="461391" y="252889"/>
                </a:cubicBezTo>
                <a:cubicBezTo>
                  <a:pt x="461391" y="247174"/>
                  <a:pt x="462344" y="235744"/>
                  <a:pt x="466630" y="214408"/>
                </a:cubicBezTo>
                <a:cubicBezTo>
                  <a:pt x="472821" y="184023"/>
                  <a:pt x="479965" y="164497"/>
                  <a:pt x="491871" y="153067"/>
                </a:cubicBezTo>
                <a:cubicBezTo>
                  <a:pt x="499491" y="145447"/>
                  <a:pt x="510445" y="140684"/>
                  <a:pt x="522351" y="140684"/>
                </a:cubicBezTo>
                <a:cubicBezTo>
                  <a:pt x="540925" y="140684"/>
                  <a:pt x="553688" y="152019"/>
                  <a:pt x="553688" y="176308"/>
                </a:cubicBezTo>
                <a:moveTo>
                  <a:pt x="612172" y="169640"/>
                </a:moveTo>
                <a:cubicBezTo>
                  <a:pt x="612172" y="112586"/>
                  <a:pt x="569881" y="87916"/>
                  <a:pt x="528542" y="87916"/>
                </a:cubicBezTo>
                <a:cubicBezTo>
                  <a:pt x="497110" y="87916"/>
                  <a:pt x="471011" y="98393"/>
                  <a:pt x="452438" y="116396"/>
                </a:cubicBezTo>
                <a:cubicBezTo>
                  <a:pt x="430625" y="137255"/>
                  <a:pt x="418719" y="162496"/>
                  <a:pt x="408242" y="214313"/>
                </a:cubicBezTo>
                <a:cubicBezTo>
                  <a:pt x="405860" y="225742"/>
                  <a:pt x="403003" y="244316"/>
                  <a:pt x="403003" y="259461"/>
                </a:cubicBezTo>
                <a:cubicBezTo>
                  <a:pt x="403003" y="316516"/>
                  <a:pt x="445294" y="341186"/>
                  <a:pt x="487109" y="341186"/>
                </a:cubicBezTo>
                <a:cubicBezTo>
                  <a:pt x="518541" y="341186"/>
                  <a:pt x="544163" y="330708"/>
                  <a:pt x="563213" y="312706"/>
                </a:cubicBezTo>
                <a:cubicBezTo>
                  <a:pt x="584549" y="291846"/>
                  <a:pt x="596932" y="266605"/>
                  <a:pt x="607409" y="214313"/>
                </a:cubicBezTo>
                <a:cubicBezTo>
                  <a:pt x="609314" y="203454"/>
                  <a:pt x="612172" y="184880"/>
                  <a:pt x="612172" y="169640"/>
                </a:cubicBezTo>
                <a:moveTo>
                  <a:pt x="401098" y="953"/>
                </a:moveTo>
                <a:lnTo>
                  <a:pt x="340233" y="953"/>
                </a:lnTo>
                <a:lnTo>
                  <a:pt x="330708" y="49816"/>
                </a:lnTo>
                <a:lnTo>
                  <a:pt x="391096" y="49816"/>
                </a:lnTo>
                <a:lnTo>
                  <a:pt x="401098" y="953"/>
                </a:lnTo>
                <a:close/>
                <a:moveTo>
                  <a:pt x="381191" y="98393"/>
                </a:moveTo>
                <a:lnTo>
                  <a:pt x="322231" y="98393"/>
                </a:lnTo>
                <a:lnTo>
                  <a:pt x="274225" y="338423"/>
                </a:lnTo>
                <a:lnTo>
                  <a:pt x="333184" y="338423"/>
                </a:lnTo>
                <a:lnTo>
                  <a:pt x="381191" y="98393"/>
                </a:lnTo>
                <a:close/>
                <a:moveTo>
                  <a:pt x="215741" y="94583"/>
                </a:moveTo>
                <a:cubicBezTo>
                  <a:pt x="215741" y="120301"/>
                  <a:pt x="197167" y="151638"/>
                  <a:pt x="156305" y="151638"/>
                </a:cubicBezTo>
                <a:lnTo>
                  <a:pt x="100203" y="151638"/>
                </a:lnTo>
                <a:lnTo>
                  <a:pt x="119729" y="55531"/>
                </a:lnTo>
                <a:lnTo>
                  <a:pt x="177737" y="55531"/>
                </a:lnTo>
                <a:cubicBezTo>
                  <a:pt x="205835" y="55531"/>
                  <a:pt x="215741" y="73152"/>
                  <a:pt x="215741" y="94583"/>
                </a:cubicBezTo>
                <a:moveTo>
                  <a:pt x="278987" y="89345"/>
                </a:moveTo>
                <a:cubicBezTo>
                  <a:pt x="278987" y="36576"/>
                  <a:pt x="245745" y="0"/>
                  <a:pt x="188214" y="0"/>
                </a:cubicBezTo>
                <a:lnTo>
                  <a:pt x="68008" y="0"/>
                </a:lnTo>
                <a:lnTo>
                  <a:pt x="0" y="338328"/>
                </a:lnTo>
                <a:lnTo>
                  <a:pt x="62770" y="338328"/>
                </a:lnTo>
                <a:lnTo>
                  <a:pt x="88868" y="207169"/>
                </a:lnTo>
                <a:lnTo>
                  <a:pt x="154019" y="207169"/>
                </a:lnTo>
                <a:cubicBezTo>
                  <a:pt x="235267" y="207169"/>
                  <a:pt x="278987" y="149733"/>
                  <a:pt x="278987" y="89345"/>
                </a:cubicBezTo>
              </a:path>
            </a:pathLst>
          </a:custGeom>
          <a:solidFill>
            <a:srgbClr val="FF83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eaLnBrk="1"/>
            <a:endParaRPr lang="sl-SI" dirty="0"/>
          </a:p>
        </p:txBody>
      </p:sp>
    </p:spTree>
    <p:extLst>
      <p:ext uri="{BB962C8B-B14F-4D97-AF65-F5344CB8AC3E}">
        <p14:creationId xmlns:p14="http://schemas.microsoft.com/office/powerpoint/2010/main" val="14205942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0354B8F-6AAB-41FE-8D80-21AC3B94A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010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416BCB-EEA0-4790-BBAA-2815229FD14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EE022A-9C40-3449-A7EF-F03D5CE1A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5" name="Foliennummernplatzhalter 3">
            <a:extLst>
              <a:ext uri="{FF2B5EF4-FFF2-40B4-BE49-F238E27FC236}">
                <a16:creationId xmlns:a16="http://schemas.microsoft.com/office/drawing/2014/main" id="{541AA1B9-7D73-4664-B2C4-E373832AB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1983FEFC-E23D-41B7-A362-B30F200853C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6076236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707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726360D-4C2F-4CA0-918F-6A8E857B1C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698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liennummernplatzhalter 3">
            <a:extLst>
              <a:ext uri="{FF2B5EF4-FFF2-40B4-BE49-F238E27FC236}">
                <a16:creationId xmlns:a16="http://schemas.microsoft.com/office/drawing/2014/main" id="{2301CB32-E0CC-4B44-9ECB-E9343E2812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383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Graphic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5852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6090BCD3-D1F4-465B-B903-72F0AA304F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5411145"/>
            <a:ext cx="4802909" cy="144685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10944222" cy="316706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358438C-824A-4715-A8D3-491E5A16F92F}"/>
              </a:ext>
            </a:extLst>
          </p:cNvPr>
          <p:cNvGrpSpPr/>
          <p:nvPr userDrawn="1"/>
        </p:nvGrpSpPr>
        <p:grpSpPr>
          <a:xfrm>
            <a:off x="623888" y="6415097"/>
            <a:ext cx="841094" cy="111909"/>
            <a:chOff x="223019" y="5512949"/>
            <a:chExt cx="2540191" cy="337977"/>
          </a:xfrm>
          <a:solidFill>
            <a:schemeClr val="bg1"/>
          </a:solidFill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82722A87-43DD-4AF4-98FF-4A29AE1AFCEE}"/>
                </a:ext>
              </a:extLst>
            </p:cNvPr>
            <p:cNvSpPr/>
            <p:nvPr/>
          </p:nvSpPr>
          <p:spPr>
            <a:xfrm>
              <a:off x="490471" y="5606744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9A5982D-C624-45E2-87B9-64CBF9DE321D}"/>
                </a:ext>
              </a:extLst>
            </p:cNvPr>
            <p:cNvSpPr/>
            <p:nvPr/>
          </p:nvSpPr>
          <p:spPr>
            <a:xfrm>
              <a:off x="882599" y="5611914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C7FE56EA-E899-4309-A1EF-F9E5A641AD08}"/>
                </a:ext>
              </a:extLst>
            </p:cNvPr>
            <p:cNvSpPr/>
            <p:nvPr/>
          </p:nvSpPr>
          <p:spPr>
            <a:xfrm>
              <a:off x="1328017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B403E2-C66A-434E-9F82-1DC8217F98B5}"/>
                </a:ext>
              </a:extLst>
            </p:cNvPr>
            <p:cNvSpPr/>
            <p:nvPr/>
          </p:nvSpPr>
          <p:spPr>
            <a:xfrm>
              <a:off x="2705755" y="5512949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B16F8D3-224B-45C9-9125-FA1A3ACA26A8}"/>
                </a:ext>
              </a:extLst>
            </p:cNvPr>
            <p:cNvSpPr/>
            <p:nvPr/>
          </p:nvSpPr>
          <p:spPr>
            <a:xfrm>
              <a:off x="2427843" y="5606026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DCD0D8C-D4AF-4414-9345-E5D07A7B8980}"/>
                </a:ext>
              </a:extLst>
            </p:cNvPr>
            <p:cNvSpPr/>
            <p:nvPr/>
          </p:nvSpPr>
          <p:spPr>
            <a:xfrm>
              <a:off x="2651342" y="5614356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9F04523A-14F8-4A02-9688-3F42B6242C89}"/>
                </a:ext>
              </a:extLst>
            </p:cNvPr>
            <p:cNvSpPr/>
            <p:nvPr/>
          </p:nvSpPr>
          <p:spPr>
            <a:xfrm>
              <a:off x="1914198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DD096664-C11E-4D4D-B82E-DB58DC2547E1}"/>
                </a:ext>
              </a:extLst>
            </p:cNvPr>
            <p:cNvSpPr/>
            <p:nvPr/>
          </p:nvSpPr>
          <p:spPr>
            <a:xfrm>
              <a:off x="1117732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253D256-BD98-454C-9864-11CD79F58D9A}"/>
                </a:ext>
              </a:extLst>
            </p:cNvPr>
            <p:cNvSpPr/>
            <p:nvPr/>
          </p:nvSpPr>
          <p:spPr>
            <a:xfrm>
              <a:off x="2154790" y="5521567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576CCF6A-1EB4-47C0-A982-0CE38B4A49E3}"/>
                </a:ext>
              </a:extLst>
            </p:cNvPr>
            <p:cNvSpPr/>
            <p:nvPr/>
          </p:nvSpPr>
          <p:spPr>
            <a:xfrm>
              <a:off x="637269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56D4AA6-EC9B-414A-9DB0-E42B38E54348}"/>
                </a:ext>
              </a:extLst>
            </p:cNvPr>
            <p:cNvSpPr/>
            <p:nvPr/>
          </p:nvSpPr>
          <p:spPr>
            <a:xfrm>
              <a:off x="223019" y="5521567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142CB4E5-5B72-471B-A2FF-899D3EA0F265}"/>
                </a:ext>
              </a:extLst>
            </p:cNvPr>
            <p:cNvSpPr/>
            <p:nvPr/>
          </p:nvSpPr>
          <p:spPr>
            <a:xfrm>
              <a:off x="1579955" y="5521567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A75BBC66-272E-4E4F-BA98-4FFC65F9C095}"/>
              </a:ext>
            </a:extLst>
          </p:cNvPr>
          <p:cNvSpPr/>
          <p:nvPr userDrawn="1"/>
        </p:nvSpPr>
        <p:spPr>
          <a:xfrm>
            <a:off x="1796103" y="6422713"/>
            <a:ext cx="1189211" cy="131809"/>
          </a:xfrm>
          <a:custGeom>
            <a:avLst/>
            <a:gdLst>
              <a:gd name="connsiteX0" fmla="*/ 3869817 w 3867150"/>
              <a:gd name="connsiteY0" fmla="*/ 118300 h 428625"/>
              <a:gd name="connsiteX1" fmla="*/ 3787617 w 3867150"/>
              <a:gd name="connsiteY1" fmla="*/ 87916 h 428625"/>
              <a:gd name="connsiteX2" fmla="*/ 3705416 w 3867150"/>
              <a:gd name="connsiteY2" fmla="*/ 116396 h 428625"/>
              <a:gd name="connsiteX3" fmla="*/ 3680270 w 3867150"/>
              <a:gd name="connsiteY3" fmla="*/ 178213 h 428625"/>
              <a:gd name="connsiteX4" fmla="*/ 3739610 w 3867150"/>
              <a:gd name="connsiteY4" fmla="*/ 234315 h 428625"/>
              <a:gd name="connsiteX5" fmla="*/ 3771995 w 3867150"/>
              <a:gd name="connsiteY5" fmla="*/ 239554 h 428625"/>
              <a:gd name="connsiteX6" fmla="*/ 3795332 w 3867150"/>
              <a:gd name="connsiteY6" fmla="*/ 260032 h 428625"/>
              <a:gd name="connsiteX7" fmla="*/ 3744944 w 3867150"/>
              <a:gd name="connsiteY7" fmla="*/ 290894 h 428625"/>
              <a:gd name="connsiteX8" fmla="*/ 3687985 w 3867150"/>
              <a:gd name="connsiteY8" fmla="*/ 267081 h 428625"/>
              <a:gd name="connsiteX9" fmla="*/ 3645694 w 3867150"/>
              <a:gd name="connsiteY9" fmla="*/ 304133 h 428625"/>
              <a:gd name="connsiteX10" fmla="*/ 3741135 w 3867150"/>
              <a:gd name="connsiteY10" fmla="*/ 341186 h 428625"/>
              <a:gd name="connsiteX11" fmla="*/ 3827145 w 3867150"/>
              <a:gd name="connsiteY11" fmla="*/ 314134 h 428625"/>
              <a:gd name="connsiteX12" fmla="*/ 3853720 w 3867150"/>
              <a:gd name="connsiteY12" fmla="*/ 254222 h 428625"/>
              <a:gd name="connsiteX13" fmla="*/ 3793903 w 3867150"/>
              <a:gd name="connsiteY13" fmla="*/ 190024 h 428625"/>
              <a:gd name="connsiteX14" fmla="*/ 3761994 w 3867150"/>
              <a:gd name="connsiteY14" fmla="*/ 184785 h 428625"/>
              <a:gd name="connsiteX15" fmla="*/ 3739134 w 3867150"/>
              <a:gd name="connsiteY15" fmla="*/ 166211 h 428625"/>
              <a:gd name="connsiteX16" fmla="*/ 3782377 w 3867150"/>
              <a:gd name="connsiteY16" fmla="*/ 136303 h 428625"/>
              <a:gd name="connsiteX17" fmla="*/ 3829431 w 3867150"/>
              <a:gd name="connsiteY17" fmla="*/ 153924 h 428625"/>
              <a:gd name="connsiteX18" fmla="*/ 3869817 w 3867150"/>
              <a:gd name="connsiteY18" fmla="*/ 118300 h 428625"/>
              <a:gd name="connsiteX19" fmla="*/ 3661220 w 3867150"/>
              <a:gd name="connsiteY19" fmla="*/ 122111 h 428625"/>
              <a:gd name="connsiteX20" fmla="*/ 3588544 w 3867150"/>
              <a:gd name="connsiteY20" fmla="*/ 87916 h 428625"/>
              <a:gd name="connsiteX21" fmla="*/ 3462623 w 3867150"/>
              <a:gd name="connsiteY21" fmla="*/ 214313 h 428625"/>
              <a:gd name="connsiteX22" fmla="*/ 3458813 w 3867150"/>
              <a:gd name="connsiteY22" fmla="*/ 252794 h 428625"/>
              <a:gd name="connsiteX23" fmla="*/ 3547586 w 3867150"/>
              <a:gd name="connsiteY23" fmla="*/ 341186 h 428625"/>
              <a:gd name="connsiteX24" fmla="*/ 3629311 w 3867150"/>
              <a:gd name="connsiteY24" fmla="*/ 309848 h 428625"/>
              <a:gd name="connsiteX25" fmla="*/ 3596545 w 3867150"/>
              <a:gd name="connsiteY25" fmla="*/ 267557 h 428625"/>
              <a:gd name="connsiteX26" fmla="*/ 3553301 w 3867150"/>
              <a:gd name="connsiteY26" fmla="*/ 288512 h 428625"/>
              <a:gd name="connsiteX27" fmla="*/ 3518154 w 3867150"/>
              <a:gd name="connsiteY27" fmla="*/ 246221 h 428625"/>
              <a:gd name="connsiteX28" fmla="*/ 3521488 w 3867150"/>
              <a:gd name="connsiteY28" fmla="*/ 214313 h 428625"/>
              <a:gd name="connsiteX29" fmla="*/ 3547586 w 3867150"/>
              <a:gd name="connsiteY29" fmla="*/ 156305 h 428625"/>
              <a:gd name="connsiteX30" fmla="*/ 3582734 w 3867150"/>
              <a:gd name="connsiteY30" fmla="*/ 140589 h 428625"/>
              <a:gd name="connsiteX31" fmla="*/ 3616928 w 3867150"/>
              <a:gd name="connsiteY31" fmla="*/ 161068 h 428625"/>
              <a:gd name="connsiteX32" fmla="*/ 3661220 w 3867150"/>
              <a:gd name="connsiteY32" fmla="*/ 122111 h 428625"/>
              <a:gd name="connsiteX33" fmla="*/ 3456813 w 3867150"/>
              <a:gd name="connsiteY33" fmla="*/ 953 h 428625"/>
              <a:gd name="connsiteX34" fmla="*/ 3395948 w 3867150"/>
              <a:gd name="connsiteY34" fmla="*/ 953 h 428625"/>
              <a:gd name="connsiteX35" fmla="*/ 3386423 w 3867150"/>
              <a:gd name="connsiteY35" fmla="*/ 49816 h 428625"/>
              <a:gd name="connsiteX36" fmla="*/ 3446812 w 3867150"/>
              <a:gd name="connsiteY36" fmla="*/ 49816 h 428625"/>
              <a:gd name="connsiteX37" fmla="*/ 3456813 w 3867150"/>
              <a:gd name="connsiteY37" fmla="*/ 953 h 428625"/>
              <a:gd name="connsiteX38" fmla="*/ 3436906 w 3867150"/>
              <a:gd name="connsiteY38" fmla="*/ 98393 h 428625"/>
              <a:gd name="connsiteX39" fmla="*/ 3377946 w 3867150"/>
              <a:gd name="connsiteY39" fmla="*/ 98393 h 428625"/>
              <a:gd name="connsiteX40" fmla="*/ 3329940 w 3867150"/>
              <a:gd name="connsiteY40" fmla="*/ 338423 h 428625"/>
              <a:gd name="connsiteX41" fmla="*/ 3388900 w 3867150"/>
              <a:gd name="connsiteY41" fmla="*/ 338423 h 428625"/>
              <a:gd name="connsiteX42" fmla="*/ 3436906 w 3867150"/>
              <a:gd name="connsiteY42" fmla="*/ 98393 h 428625"/>
              <a:gd name="connsiteX43" fmla="*/ 3328035 w 3867150"/>
              <a:gd name="connsiteY43" fmla="*/ 98393 h 428625"/>
              <a:gd name="connsiteX44" fmla="*/ 3287173 w 3867150"/>
              <a:gd name="connsiteY44" fmla="*/ 98393 h 428625"/>
              <a:gd name="connsiteX45" fmla="*/ 3301937 w 3867150"/>
              <a:gd name="connsiteY45" fmla="*/ 24289 h 428625"/>
              <a:gd name="connsiteX46" fmla="*/ 3242977 w 3867150"/>
              <a:gd name="connsiteY46" fmla="*/ 24289 h 428625"/>
              <a:gd name="connsiteX47" fmla="*/ 3228213 w 3867150"/>
              <a:gd name="connsiteY47" fmla="*/ 98393 h 428625"/>
              <a:gd name="connsiteX48" fmla="*/ 3203067 w 3867150"/>
              <a:gd name="connsiteY48" fmla="*/ 98393 h 428625"/>
              <a:gd name="connsiteX49" fmla="*/ 3194019 w 3867150"/>
              <a:gd name="connsiteY49" fmla="*/ 142970 h 428625"/>
              <a:gd name="connsiteX50" fmla="*/ 3219164 w 3867150"/>
              <a:gd name="connsiteY50" fmla="*/ 142970 h 428625"/>
              <a:gd name="connsiteX51" fmla="*/ 3194971 w 3867150"/>
              <a:gd name="connsiteY51" fmla="*/ 264223 h 428625"/>
              <a:gd name="connsiteX52" fmla="*/ 3193066 w 3867150"/>
              <a:gd name="connsiteY52" fmla="*/ 284702 h 428625"/>
              <a:gd name="connsiteX53" fmla="*/ 3252883 w 3867150"/>
              <a:gd name="connsiteY53" fmla="*/ 338328 h 428625"/>
              <a:gd name="connsiteX54" fmla="*/ 3283268 w 3867150"/>
              <a:gd name="connsiteY54" fmla="*/ 338328 h 428625"/>
              <a:gd name="connsiteX55" fmla="*/ 3293269 w 3867150"/>
              <a:gd name="connsiteY55" fmla="*/ 288988 h 428625"/>
              <a:gd name="connsiteX56" fmla="*/ 3271933 w 3867150"/>
              <a:gd name="connsiteY56" fmla="*/ 288988 h 428625"/>
              <a:gd name="connsiteX57" fmla="*/ 3252883 w 3867150"/>
              <a:gd name="connsiteY57" fmla="*/ 273748 h 428625"/>
              <a:gd name="connsiteX58" fmla="*/ 3253836 w 3867150"/>
              <a:gd name="connsiteY58" fmla="*/ 264700 h 428625"/>
              <a:gd name="connsiteX59" fmla="*/ 3278029 w 3867150"/>
              <a:gd name="connsiteY59" fmla="*/ 142970 h 428625"/>
              <a:gd name="connsiteX60" fmla="*/ 3318891 w 3867150"/>
              <a:gd name="connsiteY60" fmla="*/ 142970 h 428625"/>
              <a:gd name="connsiteX61" fmla="*/ 3328035 w 3867150"/>
              <a:gd name="connsiteY61" fmla="*/ 98393 h 428625"/>
              <a:gd name="connsiteX62" fmla="*/ 3163062 w 3867150"/>
              <a:gd name="connsiteY62" fmla="*/ 118300 h 428625"/>
              <a:gd name="connsiteX63" fmla="*/ 3080861 w 3867150"/>
              <a:gd name="connsiteY63" fmla="*/ 87916 h 428625"/>
              <a:gd name="connsiteX64" fmla="*/ 2998565 w 3867150"/>
              <a:gd name="connsiteY64" fmla="*/ 116396 h 428625"/>
              <a:gd name="connsiteX65" fmla="*/ 2973420 w 3867150"/>
              <a:gd name="connsiteY65" fmla="*/ 178213 h 428625"/>
              <a:gd name="connsiteX66" fmla="*/ 3032760 w 3867150"/>
              <a:gd name="connsiteY66" fmla="*/ 234315 h 428625"/>
              <a:gd name="connsiteX67" fmla="*/ 3065145 w 3867150"/>
              <a:gd name="connsiteY67" fmla="*/ 239554 h 428625"/>
              <a:gd name="connsiteX68" fmla="*/ 3088481 w 3867150"/>
              <a:gd name="connsiteY68" fmla="*/ 260032 h 428625"/>
              <a:gd name="connsiteX69" fmla="*/ 3037999 w 3867150"/>
              <a:gd name="connsiteY69" fmla="*/ 290894 h 428625"/>
              <a:gd name="connsiteX70" fmla="*/ 2981039 w 3867150"/>
              <a:gd name="connsiteY70" fmla="*/ 267081 h 428625"/>
              <a:gd name="connsiteX71" fmla="*/ 2938748 w 3867150"/>
              <a:gd name="connsiteY71" fmla="*/ 304133 h 428625"/>
              <a:gd name="connsiteX72" fmla="*/ 3034189 w 3867150"/>
              <a:gd name="connsiteY72" fmla="*/ 341186 h 428625"/>
              <a:gd name="connsiteX73" fmla="*/ 3120295 w 3867150"/>
              <a:gd name="connsiteY73" fmla="*/ 314134 h 428625"/>
              <a:gd name="connsiteX74" fmla="*/ 3146870 w 3867150"/>
              <a:gd name="connsiteY74" fmla="*/ 254222 h 428625"/>
              <a:gd name="connsiteX75" fmla="*/ 3087053 w 3867150"/>
              <a:gd name="connsiteY75" fmla="*/ 190024 h 428625"/>
              <a:gd name="connsiteX76" fmla="*/ 3055144 w 3867150"/>
              <a:gd name="connsiteY76" fmla="*/ 184785 h 428625"/>
              <a:gd name="connsiteX77" fmla="*/ 3032284 w 3867150"/>
              <a:gd name="connsiteY77" fmla="*/ 166211 h 428625"/>
              <a:gd name="connsiteX78" fmla="*/ 3075623 w 3867150"/>
              <a:gd name="connsiteY78" fmla="*/ 136303 h 428625"/>
              <a:gd name="connsiteX79" fmla="*/ 3122676 w 3867150"/>
              <a:gd name="connsiteY79" fmla="*/ 153924 h 428625"/>
              <a:gd name="connsiteX80" fmla="*/ 3163062 w 3867150"/>
              <a:gd name="connsiteY80" fmla="*/ 118300 h 428625"/>
              <a:gd name="connsiteX81" fmla="*/ 2858453 w 3867150"/>
              <a:gd name="connsiteY81" fmla="*/ 231934 h 428625"/>
              <a:gd name="connsiteX82" fmla="*/ 2855595 w 3867150"/>
              <a:gd name="connsiteY82" fmla="*/ 246697 h 428625"/>
              <a:gd name="connsiteX83" fmla="*/ 2840831 w 3867150"/>
              <a:gd name="connsiteY83" fmla="*/ 278035 h 428625"/>
              <a:gd name="connsiteX84" fmla="*/ 2802350 w 3867150"/>
              <a:gd name="connsiteY84" fmla="*/ 293275 h 428625"/>
              <a:gd name="connsiteX85" fmla="*/ 2770918 w 3867150"/>
              <a:gd name="connsiteY85" fmla="*/ 269938 h 428625"/>
              <a:gd name="connsiteX86" fmla="*/ 2813209 w 3867150"/>
              <a:gd name="connsiteY86" fmla="*/ 231838 h 428625"/>
              <a:gd name="connsiteX87" fmla="*/ 2858453 w 3867150"/>
              <a:gd name="connsiteY87" fmla="*/ 231838 h 428625"/>
              <a:gd name="connsiteX88" fmla="*/ 2930652 w 3867150"/>
              <a:gd name="connsiteY88" fmla="*/ 156877 h 428625"/>
              <a:gd name="connsiteX89" fmla="*/ 2842736 w 3867150"/>
              <a:gd name="connsiteY89" fmla="*/ 88011 h 428625"/>
              <a:gd name="connsiteX90" fmla="*/ 2751011 w 3867150"/>
              <a:gd name="connsiteY90" fmla="*/ 121253 h 428625"/>
              <a:gd name="connsiteX91" fmla="*/ 2781395 w 3867150"/>
              <a:gd name="connsiteY91" fmla="*/ 160687 h 428625"/>
              <a:gd name="connsiteX92" fmla="*/ 2834640 w 3867150"/>
              <a:gd name="connsiteY92" fmla="*/ 137350 h 428625"/>
              <a:gd name="connsiteX93" fmla="*/ 2871311 w 3867150"/>
              <a:gd name="connsiteY93" fmla="*/ 164021 h 428625"/>
              <a:gd name="connsiteX94" fmla="*/ 2869883 w 3867150"/>
              <a:gd name="connsiteY94" fmla="*/ 176879 h 428625"/>
              <a:gd name="connsiteX95" fmla="*/ 2866549 w 3867150"/>
              <a:gd name="connsiteY95" fmla="*/ 191643 h 428625"/>
              <a:gd name="connsiteX96" fmla="*/ 2807589 w 3867150"/>
              <a:gd name="connsiteY96" fmla="*/ 191643 h 428625"/>
              <a:gd name="connsiteX97" fmla="*/ 2735390 w 3867150"/>
              <a:gd name="connsiteY97" fmla="*/ 217265 h 428625"/>
              <a:gd name="connsiteX98" fmla="*/ 2713101 w 3867150"/>
              <a:gd name="connsiteY98" fmla="*/ 275749 h 428625"/>
              <a:gd name="connsiteX99" fmla="*/ 2783872 w 3867150"/>
              <a:gd name="connsiteY99" fmla="*/ 340805 h 428625"/>
              <a:gd name="connsiteX100" fmla="*/ 2843784 w 3867150"/>
              <a:gd name="connsiteY100" fmla="*/ 316611 h 428625"/>
              <a:gd name="connsiteX101" fmla="*/ 2839498 w 3867150"/>
              <a:gd name="connsiteY101" fmla="*/ 338423 h 428625"/>
              <a:gd name="connsiteX102" fmla="*/ 2896076 w 3867150"/>
              <a:gd name="connsiteY102" fmla="*/ 338423 h 428625"/>
              <a:gd name="connsiteX103" fmla="*/ 2928366 w 3867150"/>
              <a:gd name="connsiteY103" fmla="*/ 178784 h 428625"/>
              <a:gd name="connsiteX104" fmla="*/ 2930652 w 3867150"/>
              <a:gd name="connsiteY104" fmla="*/ 156877 h 428625"/>
              <a:gd name="connsiteX105" fmla="*/ 2697766 w 3867150"/>
              <a:gd name="connsiteY105" fmla="*/ 0 h 428625"/>
              <a:gd name="connsiteX106" fmla="*/ 2638806 w 3867150"/>
              <a:gd name="connsiteY106" fmla="*/ 0 h 428625"/>
              <a:gd name="connsiteX107" fmla="*/ 2586133 w 3867150"/>
              <a:gd name="connsiteY107" fmla="*/ 264223 h 428625"/>
              <a:gd name="connsiteX108" fmla="*/ 2584228 w 3867150"/>
              <a:gd name="connsiteY108" fmla="*/ 284702 h 428625"/>
              <a:gd name="connsiteX109" fmla="*/ 2643569 w 3867150"/>
              <a:gd name="connsiteY109" fmla="*/ 338328 h 428625"/>
              <a:gd name="connsiteX110" fmla="*/ 2675858 w 3867150"/>
              <a:gd name="connsiteY110" fmla="*/ 338328 h 428625"/>
              <a:gd name="connsiteX111" fmla="*/ 2685860 w 3867150"/>
              <a:gd name="connsiteY111" fmla="*/ 288512 h 428625"/>
              <a:gd name="connsiteX112" fmla="*/ 2661666 w 3867150"/>
              <a:gd name="connsiteY112" fmla="*/ 288512 h 428625"/>
              <a:gd name="connsiteX113" fmla="*/ 2643569 w 3867150"/>
              <a:gd name="connsiteY113" fmla="*/ 274225 h 428625"/>
              <a:gd name="connsiteX114" fmla="*/ 2644997 w 3867150"/>
              <a:gd name="connsiteY114" fmla="*/ 263747 h 428625"/>
              <a:gd name="connsiteX115" fmla="*/ 2697766 w 3867150"/>
              <a:gd name="connsiteY115" fmla="*/ 0 h 428625"/>
              <a:gd name="connsiteX116" fmla="*/ 2514791 w 3867150"/>
              <a:gd name="connsiteY116" fmla="*/ 94583 h 428625"/>
              <a:gd name="connsiteX117" fmla="*/ 2455355 w 3867150"/>
              <a:gd name="connsiteY117" fmla="*/ 151638 h 428625"/>
              <a:gd name="connsiteX118" fmla="*/ 2399253 w 3867150"/>
              <a:gd name="connsiteY118" fmla="*/ 151638 h 428625"/>
              <a:gd name="connsiteX119" fmla="*/ 2418779 w 3867150"/>
              <a:gd name="connsiteY119" fmla="*/ 55531 h 428625"/>
              <a:gd name="connsiteX120" fmla="*/ 2476786 w 3867150"/>
              <a:gd name="connsiteY120" fmla="*/ 55531 h 428625"/>
              <a:gd name="connsiteX121" fmla="*/ 2514791 w 3867150"/>
              <a:gd name="connsiteY121" fmla="*/ 94583 h 428625"/>
              <a:gd name="connsiteX122" fmla="*/ 2578037 w 3867150"/>
              <a:gd name="connsiteY122" fmla="*/ 89345 h 428625"/>
              <a:gd name="connsiteX123" fmla="*/ 2487359 w 3867150"/>
              <a:gd name="connsiteY123" fmla="*/ 0 h 428625"/>
              <a:gd name="connsiteX124" fmla="*/ 2367058 w 3867150"/>
              <a:gd name="connsiteY124" fmla="*/ 0 h 428625"/>
              <a:gd name="connsiteX125" fmla="*/ 2299049 w 3867150"/>
              <a:gd name="connsiteY125" fmla="*/ 338328 h 428625"/>
              <a:gd name="connsiteX126" fmla="*/ 2361819 w 3867150"/>
              <a:gd name="connsiteY126" fmla="*/ 338328 h 428625"/>
              <a:gd name="connsiteX127" fmla="*/ 2387918 w 3867150"/>
              <a:gd name="connsiteY127" fmla="*/ 207169 h 428625"/>
              <a:gd name="connsiteX128" fmla="*/ 2453069 w 3867150"/>
              <a:gd name="connsiteY128" fmla="*/ 207169 h 428625"/>
              <a:gd name="connsiteX129" fmla="*/ 2578037 w 3867150"/>
              <a:gd name="connsiteY129" fmla="*/ 89345 h 428625"/>
              <a:gd name="connsiteX130" fmla="*/ 2105501 w 3867150"/>
              <a:gd name="connsiteY130" fmla="*/ 173546 h 428625"/>
              <a:gd name="connsiteX131" fmla="*/ 2101215 w 3867150"/>
              <a:gd name="connsiteY131" fmla="*/ 207740 h 428625"/>
              <a:gd name="connsiteX132" fmla="*/ 2048923 w 3867150"/>
              <a:gd name="connsiteY132" fmla="*/ 275272 h 428625"/>
              <a:gd name="connsiteX133" fmla="*/ 2019490 w 3867150"/>
              <a:gd name="connsiteY133" fmla="*/ 242506 h 428625"/>
              <a:gd name="connsiteX134" fmla="*/ 2023777 w 3867150"/>
              <a:gd name="connsiteY134" fmla="*/ 208312 h 428625"/>
              <a:gd name="connsiteX135" fmla="*/ 2076069 w 3867150"/>
              <a:gd name="connsiteY135" fmla="*/ 140779 h 428625"/>
              <a:gd name="connsiteX136" fmla="*/ 2105501 w 3867150"/>
              <a:gd name="connsiteY136" fmla="*/ 173546 h 428625"/>
              <a:gd name="connsiteX137" fmla="*/ 2105501 w 3867150"/>
              <a:gd name="connsiteY137" fmla="*/ 173546 h 428625"/>
              <a:gd name="connsiteX138" fmla="*/ 2183035 w 3867150"/>
              <a:gd name="connsiteY138" fmla="*/ 90773 h 428625"/>
              <a:gd name="connsiteX139" fmla="*/ 2125980 w 3867150"/>
              <a:gd name="connsiteY139" fmla="*/ 90773 h 428625"/>
              <a:gd name="connsiteX140" fmla="*/ 2121218 w 3867150"/>
              <a:gd name="connsiteY140" fmla="*/ 115919 h 428625"/>
              <a:gd name="connsiteX141" fmla="*/ 2065115 w 3867150"/>
              <a:gd name="connsiteY141" fmla="*/ 87821 h 428625"/>
              <a:gd name="connsiteX142" fmla="*/ 2001964 w 3867150"/>
              <a:gd name="connsiteY142" fmla="*/ 112490 h 428625"/>
              <a:gd name="connsiteX143" fmla="*/ 1964912 w 3867150"/>
              <a:gd name="connsiteY143" fmla="*/ 207550 h 428625"/>
              <a:gd name="connsiteX144" fmla="*/ 1958721 w 3867150"/>
              <a:gd name="connsiteY144" fmla="*/ 257937 h 428625"/>
              <a:gd name="connsiteX145" fmla="*/ 2027111 w 3867150"/>
              <a:gd name="connsiteY145" fmla="*/ 327755 h 428625"/>
              <a:gd name="connsiteX146" fmla="*/ 2082260 w 3867150"/>
              <a:gd name="connsiteY146" fmla="*/ 303086 h 428625"/>
              <a:gd name="connsiteX147" fmla="*/ 2077022 w 3867150"/>
              <a:gd name="connsiteY147" fmla="*/ 328231 h 428625"/>
              <a:gd name="connsiteX148" fmla="*/ 2016633 w 3867150"/>
              <a:gd name="connsiteY148" fmla="*/ 381953 h 428625"/>
              <a:gd name="connsiteX149" fmla="*/ 1975295 w 3867150"/>
              <a:gd name="connsiteY149" fmla="*/ 362426 h 428625"/>
              <a:gd name="connsiteX150" fmla="*/ 1934432 w 3867150"/>
              <a:gd name="connsiteY150" fmla="*/ 398050 h 428625"/>
              <a:gd name="connsiteX151" fmla="*/ 2016633 w 3867150"/>
              <a:gd name="connsiteY151" fmla="*/ 431768 h 428625"/>
              <a:gd name="connsiteX152" fmla="*/ 2135505 w 3867150"/>
              <a:gd name="connsiteY152" fmla="*/ 328613 h 428625"/>
              <a:gd name="connsiteX153" fmla="*/ 2183035 w 3867150"/>
              <a:gd name="connsiteY153" fmla="*/ 90773 h 428625"/>
              <a:gd name="connsiteX154" fmla="*/ 1924431 w 3867150"/>
              <a:gd name="connsiteY154" fmla="*/ 156305 h 428625"/>
              <a:gd name="connsiteX155" fmla="*/ 1861280 w 3867150"/>
              <a:gd name="connsiteY155" fmla="*/ 87916 h 428625"/>
              <a:gd name="connsiteX156" fmla="*/ 1796129 w 3867150"/>
              <a:gd name="connsiteY156" fmla="*/ 114490 h 428625"/>
              <a:gd name="connsiteX157" fmla="*/ 1800415 w 3867150"/>
              <a:gd name="connsiteY157" fmla="*/ 90773 h 428625"/>
              <a:gd name="connsiteX158" fmla="*/ 1743837 w 3867150"/>
              <a:gd name="connsiteY158" fmla="*/ 90773 h 428625"/>
              <a:gd name="connsiteX159" fmla="*/ 1694402 w 3867150"/>
              <a:gd name="connsiteY159" fmla="*/ 338328 h 428625"/>
              <a:gd name="connsiteX160" fmla="*/ 1753362 w 3867150"/>
              <a:gd name="connsiteY160" fmla="*/ 338328 h 428625"/>
              <a:gd name="connsiteX161" fmla="*/ 1783747 w 3867150"/>
              <a:gd name="connsiteY161" fmla="*/ 188119 h 428625"/>
              <a:gd name="connsiteX162" fmla="*/ 1834134 w 3867150"/>
              <a:gd name="connsiteY162" fmla="*/ 140589 h 428625"/>
              <a:gd name="connsiteX163" fmla="*/ 1863566 w 3867150"/>
              <a:gd name="connsiteY163" fmla="*/ 171450 h 428625"/>
              <a:gd name="connsiteX164" fmla="*/ 1861661 w 3867150"/>
              <a:gd name="connsiteY164" fmla="*/ 187642 h 428625"/>
              <a:gd name="connsiteX165" fmla="*/ 1831277 w 3867150"/>
              <a:gd name="connsiteY165" fmla="*/ 338328 h 428625"/>
              <a:gd name="connsiteX166" fmla="*/ 1890141 w 3867150"/>
              <a:gd name="connsiteY166" fmla="*/ 338328 h 428625"/>
              <a:gd name="connsiteX167" fmla="*/ 1921002 w 3867150"/>
              <a:gd name="connsiteY167" fmla="*/ 183832 h 428625"/>
              <a:gd name="connsiteX168" fmla="*/ 1924431 w 3867150"/>
              <a:gd name="connsiteY168" fmla="*/ 156305 h 428625"/>
              <a:gd name="connsiteX169" fmla="*/ 1702022 w 3867150"/>
              <a:gd name="connsiteY169" fmla="*/ 953 h 428625"/>
              <a:gd name="connsiteX170" fmla="*/ 1641157 w 3867150"/>
              <a:gd name="connsiteY170" fmla="*/ 953 h 428625"/>
              <a:gd name="connsiteX171" fmla="*/ 1631632 w 3867150"/>
              <a:gd name="connsiteY171" fmla="*/ 49816 h 428625"/>
              <a:gd name="connsiteX172" fmla="*/ 1692021 w 3867150"/>
              <a:gd name="connsiteY172" fmla="*/ 49816 h 428625"/>
              <a:gd name="connsiteX173" fmla="*/ 1702022 w 3867150"/>
              <a:gd name="connsiteY173" fmla="*/ 953 h 428625"/>
              <a:gd name="connsiteX174" fmla="*/ 1682115 w 3867150"/>
              <a:gd name="connsiteY174" fmla="*/ 98393 h 428625"/>
              <a:gd name="connsiteX175" fmla="*/ 1623155 w 3867150"/>
              <a:gd name="connsiteY175" fmla="*/ 98393 h 428625"/>
              <a:gd name="connsiteX176" fmla="*/ 1575149 w 3867150"/>
              <a:gd name="connsiteY176" fmla="*/ 338423 h 428625"/>
              <a:gd name="connsiteX177" fmla="*/ 1634109 w 3867150"/>
              <a:gd name="connsiteY177" fmla="*/ 338423 h 428625"/>
              <a:gd name="connsiteX178" fmla="*/ 1682115 w 3867150"/>
              <a:gd name="connsiteY178" fmla="*/ 98393 h 428625"/>
              <a:gd name="connsiteX179" fmla="*/ 1592199 w 3867150"/>
              <a:gd name="connsiteY179" fmla="*/ 111252 h 428625"/>
              <a:gd name="connsiteX180" fmla="*/ 1539431 w 3867150"/>
              <a:gd name="connsiteY180" fmla="*/ 88011 h 428625"/>
              <a:gd name="connsiteX181" fmla="*/ 1476661 w 3867150"/>
              <a:gd name="connsiteY181" fmla="*/ 115062 h 428625"/>
              <a:gd name="connsiteX182" fmla="*/ 1481900 w 3867150"/>
              <a:gd name="connsiteY182" fmla="*/ 90869 h 428625"/>
              <a:gd name="connsiteX183" fmla="*/ 1424845 w 3867150"/>
              <a:gd name="connsiteY183" fmla="*/ 90869 h 428625"/>
              <a:gd name="connsiteX184" fmla="*/ 1375410 w 3867150"/>
              <a:gd name="connsiteY184" fmla="*/ 338423 h 428625"/>
              <a:gd name="connsiteX185" fmla="*/ 1434370 w 3867150"/>
              <a:gd name="connsiteY185" fmla="*/ 338423 h 428625"/>
              <a:gd name="connsiteX186" fmla="*/ 1464278 w 3867150"/>
              <a:gd name="connsiteY186" fmla="*/ 188690 h 428625"/>
              <a:gd name="connsiteX187" fmla="*/ 1514189 w 3867150"/>
              <a:gd name="connsiteY187" fmla="*/ 141161 h 428625"/>
              <a:gd name="connsiteX188" fmla="*/ 1541240 w 3867150"/>
              <a:gd name="connsiteY188" fmla="*/ 156400 h 428625"/>
              <a:gd name="connsiteX189" fmla="*/ 1592199 w 3867150"/>
              <a:gd name="connsiteY189" fmla="*/ 111252 h 428625"/>
              <a:gd name="connsiteX190" fmla="*/ 1298067 w 3867150"/>
              <a:gd name="connsiteY190" fmla="*/ 176308 h 428625"/>
              <a:gd name="connsiteX191" fmla="*/ 1296638 w 3867150"/>
              <a:gd name="connsiteY191" fmla="*/ 192977 h 428625"/>
              <a:gd name="connsiteX192" fmla="*/ 1205770 w 3867150"/>
              <a:gd name="connsiteY192" fmla="*/ 192977 h 428625"/>
              <a:gd name="connsiteX193" fmla="*/ 1262825 w 3867150"/>
              <a:gd name="connsiteY193" fmla="*/ 136303 h 428625"/>
              <a:gd name="connsiteX194" fmla="*/ 1298067 w 3867150"/>
              <a:gd name="connsiteY194" fmla="*/ 176308 h 428625"/>
              <a:gd name="connsiteX195" fmla="*/ 1354074 w 3867150"/>
              <a:gd name="connsiteY195" fmla="*/ 176308 h 428625"/>
              <a:gd name="connsiteX196" fmla="*/ 1266158 w 3867150"/>
              <a:gd name="connsiteY196" fmla="*/ 87916 h 428625"/>
              <a:gd name="connsiteX197" fmla="*/ 1140238 w 3867150"/>
              <a:gd name="connsiteY197" fmla="*/ 254222 h 428625"/>
              <a:gd name="connsiteX198" fmla="*/ 1231964 w 3867150"/>
              <a:gd name="connsiteY198" fmla="*/ 341186 h 428625"/>
              <a:gd name="connsiteX199" fmla="*/ 1328452 w 3867150"/>
              <a:gd name="connsiteY199" fmla="*/ 305086 h 428625"/>
              <a:gd name="connsiteX200" fmla="*/ 1297591 w 3867150"/>
              <a:gd name="connsiteY200" fmla="*/ 266129 h 428625"/>
              <a:gd name="connsiteX201" fmla="*/ 1238631 w 3867150"/>
              <a:gd name="connsiteY201" fmla="*/ 291370 h 428625"/>
              <a:gd name="connsiteX202" fmla="*/ 1196340 w 3867150"/>
              <a:gd name="connsiteY202" fmla="*/ 249936 h 428625"/>
              <a:gd name="connsiteX203" fmla="*/ 1198245 w 3867150"/>
              <a:gd name="connsiteY203" fmla="*/ 232315 h 428625"/>
              <a:gd name="connsiteX204" fmla="*/ 1346549 w 3867150"/>
              <a:gd name="connsiteY204" fmla="*/ 232315 h 428625"/>
              <a:gd name="connsiteX205" fmla="*/ 1354074 w 3867150"/>
              <a:gd name="connsiteY205" fmla="*/ 176308 h 428625"/>
              <a:gd name="connsiteX206" fmla="*/ 1054227 w 3867150"/>
              <a:gd name="connsiteY206" fmla="*/ 176308 h 428625"/>
              <a:gd name="connsiteX207" fmla="*/ 1052798 w 3867150"/>
              <a:gd name="connsiteY207" fmla="*/ 192977 h 428625"/>
              <a:gd name="connsiteX208" fmla="*/ 961930 w 3867150"/>
              <a:gd name="connsiteY208" fmla="*/ 192977 h 428625"/>
              <a:gd name="connsiteX209" fmla="*/ 1018984 w 3867150"/>
              <a:gd name="connsiteY209" fmla="*/ 136303 h 428625"/>
              <a:gd name="connsiteX210" fmla="*/ 1054227 w 3867150"/>
              <a:gd name="connsiteY210" fmla="*/ 176308 h 428625"/>
              <a:gd name="connsiteX211" fmla="*/ 1110234 w 3867150"/>
              <a:gd name="connsiteY211" fmla="*/ 176308 h 428625"/>
              <a:gd name="connsiteX212" fmla="*/ 1022318 w 3867150"/>
              <a:gd name="connsiteY212" fmla="*/ 87916 h 428625"/>
              <a:gd name="connsiteX213" fmla="*/ 896398 w 3867150"/>
              <a:gd name="connsiteY213" fmla="*/ 254222 h 428625"/>
              <a:gd name="connsiteX214" fmla="*/ 988124 w 3867150"/>
              <a:gd name="connsiteY214" fmla="*/ 341186 h 428625"/>
              <a:gd name="connsiteX215" fmla="*/ 1084612 w 3867150"/>
              <a:gd name="connsiteY215" fmla="*/ 305086 h 428625"/>
              <a:gd name="connsiteX216" fmla="*/ 1053751 w 3867150"/>
              <a:gd name="connsiteY216" fmla="*/ 266129 h 428625"/>
              <a:gd name="connsiteX217" fmla="*/ 994791 w 3867150"/>
              <a:gd name="connsiteY217" fmla="*/ 291370 h 428625"/>
              <a:gd name="connsiteX218" fmla="*/ 952500 w 3867150"/>
              <a:gd name="connsiteY218" fmla="*/ 249936 h 428625"/>
              <a:gd name="connsiteX219" fmla="*/ 954405 w 3867150"/>
              <a:gd name="connsiteY219" fmla="*/ 232315 h 428625"/>
              <a:gd name="connsiteX220" fmla="*/ 1102709 w 3867150"/>
              <a:gd name="connsiteY220" fmla="*/ 232315 h 428625"/>
              <a:gd name="connsiteX221" fmla="*/ 1110234 w 3867150"/>
              <a:gd name="connsiteY221" fmla="*/ 176308 h 428625"/>
              <a:gd name="connsiteX222" fmla="*/ 863537 w 3867150"/>
              <a:gd name="connsiteY222" fmla="*/ 156305 h 428625"/>
              <a:gd name="connsiteX223" fmla="*/ 800386 w 3867150"/>
              <a:gd name="connsiteY223" fmla="*/ 87916 h 428625"/>
              <a:gd name="connsiteX224" fmla="*/ 735235 w 3867150"/>
              <a:gd name="connsiteY224" fmla="*/ 114490 h 428625"/>
              <a:gd name="connsiteX225" fmla="*/ 739521 w 3867150"/>
              <a:gd name="connsiteY225" fmla="*/ 90773 h 428625"/>
              <a:gd name="connsiteX226" fmla="*/ 682943 w 3867150"/>
              <a:gd name="connsiteY226" fmla="*/ 90773 h 428625"/>
              <a:gd name="connsiteX227" fmla="*/ 633508 w 3867150"/>
              <a:gd name="connsiteY227" fmla="*/ 338328 h 428625"/>
              <a:gd name="connsiteX228" fmla="*/ 692468 w 3867150"/>
              <a:gd name="connsiteY228" fmla="*/ 338328 h 428625"/>
              <a:gd name="connsiteX229" fmla="*/ 722852 w 3867150"/>
              <a:gd name="connsiteY229" fmla="*/ 188119 h 428625"/>
              <a:gd name="connsiteX230" fmla="*/ 773240 w 3867150"/>
              <a:gd name="connsiteY230" fmla="*/ 140589 h 428625"/>
              <a:gd name="connsiteX231" fmla="*/ 802672 w 3867150"/>
              <a:gd name="connsiteY231" fmla="*/ 171450 h 428625"/>
              <a:gd name="connsiteX232" fmla="*/ 800767 w 3867150"/>
              <a:gd name="connsiteY232" fmla="*/ 187642 h 428625"/>
              <a:gd name="connsiteX233" fmla="*/ 770382 w 3867150"/>
              <a:gd name="connsiteY233" fmla="*/ 338328 h 428625"/>
              <a:gd name="connsiteX234" fmla="*/ 829247 w 3867150"/>
              <a:gd name="connsiteY234" fmla="*/ 338328 h 428625"/>
              <a:gd name="connsiteX235" fmla="*/ 860108 w 3867150"/>
              <a:gd name="connsiteY235" fmla="*/ 183832 h 428625"/>
              <a:gd name="connsiteX236" fmla="*/ 863537 w 3867150"/>
              <a:gd name="connsiteY236" fmla="*/ 156305 h 428625"/>
              <a:gd name="connsiteX237" fmla="*/ 553688 w 3867150"/>
              <a:gd name="connsiteY237" fmla="*/ 176308 h 428625"/>
              <a:gd name="connsiteX238" fmla="*/ 548450 w 3867150"/>
              <a:gd name="connsiteY238" fmla="*/ 214313 h 428625"/>
              <a:gd name="connsiteX239" fmla="*/ 523208 w 3867150"/>
              <a:gd name="connsiteY239" fmla="*/ 276130 h 428625"/>
              <a:gd name="connsiteX240" fmla="*/ 492824 w 3867150"/>
              <a:gd name="connsiteY240" fmla="*/ 288512 h 428625"/>
              <a:gd name="connsiteX241" fmla="*/ 461391 w 3867150"/>
              <a:gd name="connsiteY241" fmla="*/ 252889 h 428625"/>
              <a:gd name="connsiteX242" fmla="*/ 466630 w 3867150"/>
              <a:gd name="connsiteY242" fmla="*/ 214408 h 428625"/>
              <a:gd name="connsiteX243" fmla="*/ 491871 w 3867150"/>
              <a:gd name="connsiteY243" fmla="*/ 153067 h 428625"/>
              <a:gd name="connsiteX244" fmla="*/ 522351 w 3867150"/>
              <a:gd name="connsiteY244" fmla="*/ 140684 h 428625"/>
              <a:gd name="connsiteX245" fmla="*/ 553688 w 3867150"/>
              <a:gd name="connsiteY245" fmla="*/ 176308 h 428625"/>
              <a:gd name="connsiteX246" fmla="*/ 612172 w 3867150"/>
              <a:gd name="connsiteY246" fmla="*/ 169640 h 428625"/>
              <a:gd name="connsiteX247" fmla="*/ 528542 w 3867150"/>
              <a:gd name="connsiteY247" fmla="*/ 87916 h 428625"/>
              <a:gd name="connsiteX248" fmla="*/ 452438 w 3867150"/>
              <a:gd name="connsiteY248" fmla="*/ 116396 h 428625"/>
              <a:gd name="connsiteX249" fmla="*/ 408242 w 3867150"/>
              <a:gd name="connsiteY249" fmla="*/ 214313 h 428625"/>
              <a:gd name="connsiteX250" fmla="*/ 403003 w 3867150"/>
              <a:gd name="connsiteY250" fmla="*/ 259461 h 428625"/>
              <a:gd name="connsiteX251" fmla="*/ 487109 w 3867150"/>
              <a:gd name="connsiteY251" fmla="*/ 341186 h 428625"/>
              <a:gd name="connsiteX252" fmla="*/ 563213 w 3867150"/>
              <a:gd name="connsiteY252" fmla="*/ 312706 h 428625"/>
              <a:gd name="connsiteX253" fmla="*/ 607409 w 3867150"/>
              <a:gd name="connsiteY253" fmla="*/ 214313 h 428625"/>
              <a:gd name="connsiteX254" fmla="*/ 612172 w 3867150"/>
              <a:gd name="connsiteY254" fmla="*/ 169640 h 428625"/>
              <a:gd name="connsiteX255" fmla="*/ 401098 w 3867150"/>
              <a:gd name="connsiteY255" fmla="*/ 953 h 428625"/>
              <a:gd name="connsiteX256" fmla="*/ 340233 w 3867150"/>
              <a:gd name="connsiteY256" fmla="*/ 953 h 428625"/>
              <a:gd name="connsiteX257" fmla="*/ 330708 w 3867150"/>
              <a:gd name="connsiteY257" fmla="*/ 49816 h 428625"/>
              <a:gd name="connsiteX258" fmla="*/ 391096 w 3867150"/>
              <a:gd name="connsiteY258" fmla="*/ 49816 h 428625"/>
              <a:gd name="connsiteX259" fmla="*/ 401098 w 3867150"/>
              <a:gd name="connsiteY259" fmla="*/ 953 h 428625"/>
              <a:gd name="connsiteX260" fmla="*/ 381191 w 3867150"/>
              <a:gd name="connsiteY260" fmla="*/ 98393 h 428625"/>
              <a:gd name="connsiteX261" fmla="*/ 322231 w 3867150"/>
              <a:gd name="connsiteY261" fmla="*/ 98393 h 428625"/>
              <a:gd name="connsiteX262" fmla="*/ 274225 w 3867150"/>
              <a:gd name="connsiteY262" fmla="*/ 338423 h 428625"/>
              <a:gd name="connsiteX263" fmla="*/ 333184 w 3867150"/>
              <a:gd name="connsiteY263" fmla="*/ 338423 h 428625"/>
              <a:gd name="connsiteX264" fmla="*/ 381191 w 3867150"/>
              <a:gd name="connsiteY264" fmla="*/ 98393 h 428625"/>
              <a:gd name="connsiteX265" fmla="*/ 215741 w 3867150"/>
              <a:gd name="connsiteY265" fmla="*/ 94583 h 428625"/>
              <a:gd name="connsiteX266" fmla="*/ 156305 w 3867150"/>
              <a:gd name="connsiteY266" fmla="*/ 151638 h 428625"/>
              <a:gd name="connsiteX267" fmla="*/ 100203 w 3867150"/>
              <a:gd name="connsiteY267" fmla="*/ 151638 h 428625"/>
              <a:gd name="connsiteX268" fmla="*/ 119729 w 3867150"/>
              <a:gd name="connsiteY268" fmla="*/ 55531 h 428625"/>
              <a:gd name="connsiteX269" fmla="*/ 177737 w 3867150"/>
              <a:gd name="connsiteY269" fmla="*/ 55531 h 428625"/>
              <a:gd name="connsiteX270" fmla="*/ 215741 w 3867150"/>
              <a:gd name="connsiteY270" fmla="*/ 94583 h 428625"/>
              <a:gd name="connsiteX271" fmla="*/ 278987 w 3867150"/>
              <a:gd name="connsiteY271" fmla="*/ 89345 h 428625"/>
              <a:gd name="connsiteX272" fmla="*/ 188214 w 3867150"/>
              <a:gd name="connsiteY272" fmla="*/ 0 h 428625"/>
              <a:gd name="connsiteX273" fmla="*/ 68008 w 3867150"/>
              <a:gd name="connsiteY273" fmla="*/ 0 h 428625"/>
              <a:gd name="connsiteX274" fmla="*/ 0 w 3867150"/>
              <a:gd name="connsiteY274" fmla="*/ 338328 h 428625"/>
              <a:gd name="connsiteX275" fmla="*/ 62770 w 3867150"/>
              <a:gd name="connsiteY275" fmla="*/ 338328 h 428625"/>
              <a:gd name="connsiteX276" fmla="*/ 88868 w 3867150"/>
              <a:gd name="connsiteY276" fmla="*/ 207169 h 428625"/>
              <a:gd name="connsiteX277" fmla="*/ 154019 w 3867150"/>
              <a:gd name="connsiteY277" fmla="*/ 207169 h 428625"/>
              <a:gd name="connsiteX278" fmla="*/ 278987 w 3867150"/>
              <a:gd name="connsiteY278" fmla="*/ 8934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3867150" h="428625">
                <a:moveTo>
                  <a:pt x="3869817" y="118300"/>
                </a:moveTo>
                <a:cubicBezTo>
                  <a:pt x="3848481" y="96488"/>
                  <a:pt x="3822764" y="87916"/>
                  <a:pt x="3787617" y="87916"/>
                </a:cubicBezTo>
                <a:cubicBezTo>
                  <a:pt x="3752374" y="87916"/>
                  <a:pt x="3723894" y="97917"/>
                  <a:pt x="3705416" y="116396"/>
                </a:cubicBezTo>
                <a:cubicBezTo>
                  <a:pt x="3688842" y="132969"/>
                  <a:pt x="3680270" y="155353"/>
                  <a:pt x="3680270" y="178213"/>
                </a:cubicBezTo>
                <a:cubicBezTo>
                  <a:pt x="3680270" y="201549"/>
                  <a:pt x="3694462" y="226695"/>
                  <a:pt x="3739610" y="234315"/>
                </a:cubicBezTo>
                <a:lnTo>
                  <a:pt x="3771995" y="239554"/>
                </a:lnTo>
                <a:cubicBezTo>
                  <a:pt x="3786283" y="241935"/>
                  <a:pt x="3795332" y="246697"/>
                  <a:pt x="3795332" y="260032"/>
                </a:cubicBezTo>
                <a:cubicBezTo>
                  <a:pt x="3795332" y="274796"/>
                  <a:pt x="3778663" y="290894"/>
                  <a:pt x="3744944" y="290894"/>
                </a:cubicBezTo>
                <a:cubicBezTo>
                  <a:pt x="3716941" y="290894"/>
                  <a:pt x="3700272" y="281369"/>
                  <a:pt x="3687985" y="267081"/>
                </a:cubicBezTo>
                <a:lnTo>
                  <a:pt x="3645694" y="304133"/>
                </a:lnTo>
                <a:cubicBezTo>
                  <a:pt x="3667601" y="327850"/>
                  <a:pt x="3697034" y="341186"/>
                  <a:pt x="3741135" y="341186"/>
                </a:cubicBezTo>
                <a:cubicBezTo>
                  <a:pt x="3773043" y="341186"/>
                  <a:pt x="3807238" y="333565"/>
                  <a:pt x="3827145" y="314134"/>
                </a:cubicBezTo>
                <a:cubicBezTo>
                  <a:pt x="3843338" y="298513"/>
                  <a:pt x="3853720" y="278987"/>
                  <a:pt x="3853720" y="254222"/>
                </a:cubicBezTo>
                <a:cubicBezTo>
                  <a:pt x="3853720" y="220028"/>
                  <a:pt x="3838004" y="197167"/>
                  <a:pt x="3793903" y="190024"/>
                </a:cubicBezTo>
                <a:lnTo>
                  <a:pt x="3761994" y="184785"/>
                </a:lnTo>
                <a:cubicBezTo>
                  <a:pt x="3746754" y="182404"/>
                  <a:pt x="3739134" y="176689"/>
                  <a:pt x="3739134" y="166211"/>
                </a:cubicBezTo>
                <a:cubicBezTo>
                  <a:pt x="3739134" y="150971"/>
                  <a:pt x="3752469" y="136303"/>
                  <a:pt x="3782377" y="136303"/>
                </a:cubicBezTo>
                <a:cubicBezTo>
                  <a:pt x="3799999" y="136303"/>
                  <a:pt x="3818001" y="142018"/>
                  <a:pt x="3829431" y="153924"/>
                </a:cubicBezTo>
                <a:lnTo>
                  <a:pt x="3869817" y="118300"/>
                </a:lnTo>
                <a:close/>
                <a:moveTo>
                  <a:pt x="3661220" y="122111"/>
                </a:moveTo>
                <a:cubicBezTo>
                  <a:pt x="3646456" y="103156"/>
                  <a:pt x="3624644" y="87916"/>
                  <a:pt x="3588544" y="87916"/>
                </a:cubicBezTo>
                <a:cubicBezTo>
                  <a:pt x="3538157" y="87916"/>
                  <a:pt x="3481197" y="113538"/>
                  <a:pt x="3462623" y="214313"/>
                </a:cubicBezTo>
                <a:cubicBezTo>
                  <a:pt x="3460242" y="227171"/>
                  <a:pt x="3458813" y="240982"/>
                  <a:pt x="3458813" y="252794"/>
                </a:cubicBezTo>
                <a:cubicBezTo>
                  <a:pt x="3458813" y="311277"/>
                  <a:pt x="3500628" y="341186"/>
                  <a:pt x="3547586" y="341186"/>
                </a:cubicBezTo>
                <a:cubicBezTo>
                  <a:pt x="3579400" y="341186"/>
                  <a:pt x="3608451" y="329279"/>
                  <a:pt x="3629311" y="309848"/>
                </a:cubicBezTo>
                <a:lnTo>
                  <a:pt x="3596545" y="267557"/>
                </a:lnTo>
                <a:cubicBezTo>
                  <a:pt x="3582734" y="281369"/>
                  <a:pt x="3569875" y="288512"/>
                  <a:pt x="3553301" y="288512"/>
                </a:cubicBezTo>
                <a:cubicBezTo>
                  <a:pt x="3530441" y="288512"/>
                  <a:pt x="3518154" y="272320"/>
                  <a:pt x="3518154" y="246221"/>
                </a:cubicBezTo>
                <a:cubicBezTo>
                  <a:pt x="3518154" y="234791"/>
                  <a:pt x="3519583" y="225266"/>
                  <a:pt x="3521488" y="214313"/>
                </a:cubicBezTo>
                <a:cubicBezTo>
                  <a:pt x="3525774" y="190976"/>
                  <a:pt x="3534823" y="169640"/>
                  <a:pt x="3547586" y="156305"/>
                </a:cubicBezTo>
                <a:cubicBezTo>
                  <a:pt x="3558064" y="145352"/>
                  <a:pt x="3569970" y="140589"/>
                  <a:pt x="3582734" y="140589"/>
                </a:cubicBezTo>
                <a:cubicBezTo>
                  <a:pt x="3597497" y="140589"/>
                  <a:pt x="3607499" y="148209"/>
                  <a:pt x="3616928" y="161068"/>
                </a:cubicBezTo>
                <a:lnTo>
                  <a:pt x="3661220" y="122111"/>
                </a:lnTo>
                <a:close/>
                <a:moveTo>
                  <a:pt x="3456813" y="953"/>
                </a:moveTo>
                <a:lnTo>
                  <a:pt x="3395948" y="953"/>
                </a:lnTo>
                <a:lnTo>
                  <a:pt x="3386423" y="49816"/>
                </a:lnTo>
                <a:lnTo>
                  <a:pt x="3446812" y="49816"/>
                </a:lnTo>
                <a:lnTo>
                  <a:pt x="3456813" y="953"/>
                </a:lnTo>
                <a:close/>
                <a:moveTo>
                  <a:pt x="3436906" y="98393"/>
                </a:moveTo>
                <a:lnTo>
                  <a:pt x="3377946" y="98393"/>
                </a:lnTo>
                <a:lnTo>
                  <a:pt x="3329940" y="338423"/>
                </a:lnTo>
                <a:lnTo>
                  <a:pt x="3388900" y="338423"/>
                </a:lnTo>
                <a:lnTo>
                  <a:pt x="3436906" y="98393"/>
                </a:lnTo>
                <a:close/>
                <a:moveTo>
                  <a:pt x="3328035" y="98393"/>
                </a:moveTo>
                <a:lnTo>
                  <a:pt x="3287173" y="98393"/>
                </a:lnTo>
                <a:lnTo>
                  <a:pt x="3301937" y="24289"/>
                </a:lnTo>
                <a:lnTo>
                  <a:pt x="3242977" y="24289"/>
                </a:lnTo>
                <a:lnTo>
                  <a:pt x="3228213" y="98393"/>
                </a:lnTo>
                <a:lnTo>
                  <a:pt x="3203067" y="98393"/>
                </a:lnTo>
                <a:lnTo>
                  <a:pt x="3194019" y="142970"/>
                </a:lnTo>
                <a:lnTo>
                  <a:pt x="3219164" y="142970"/>
                </a:lnTo>
                <a:lnTo>
                  <a:pt x="3194971" y="264223"/>
                </a:lnTo>
                <a:cubicBezTo>
                  <a:pt x="3194019" y="269462"/>
                  <a:pt x="3193066" y="276130"/>
                  <a:pt x="3193066" y="284702"/>
                </a:cubicBezTo>
                <a:cubicBezTo>
                  <a:pt x="3193066" y="318421"/>
                  <a:pt x="3218688" y="338328"/>
                  <a:pt x="3252883" y="338328"/>
                </a:cubicBezTo>
                <a:lnTo>
                  <a:pt x="3283268" y="338328"/>
                </a:lnTo>
                <a:lnTo>
                  <a:pt x="3293269" y="288988"/>
                </a:lnTo>
                <a:lnTo>
                  <a:pt x="3271933" y="288988"/>
                </a:lnTo>
                <a:cubicBezTo>
                  <a:pt x="3259074" y="288988"/>
                  <a:pt x="3252883" y="283750"/>
                  <a:pt x="3252883" y="273748"/>
                </a:cubicBezTo>
                <a:cubicBezTo>
                  <a:pt x="3252883" y="271367"/>
                  <a:pt x="3252883" y="269462"/>
                  <a:pt x="3253836" y="264700"/>
                </a:cubicBezTo>
                <a:lnTo>
                  <a:pt x="3278029" y="142970"/>
                </a:lnTo>
                <a:lnTo>
                  <a:pt x="3318891" y="142970"/>
                </a:lnTo>
                <a:lnTo>
                  <a:pt x="3328035" y="98393"/>
                </a:lnTo>
                <a:close/>
                <a:moveTo>
                  <a:pt x="3163062" y="118300"/>
                </a:moveTo>
                <a:cubicBezTo>
                  <a:pt x="3141726" y="96488"/>
                  <a:pt x="3116009" y="87916"/>
                  <a:pt x="3080861" y="87916"/>
                </a:cubicBezTo>
                <a:cubicBezTo>
                  <a:pt x="3045619" y="87916"/>
                  <a:pt x="3017139" y="97917"/>
                  <a:pt x="2998565" y="116396"/>
                </a:cubicBezTo>
                <a:cubicBezTo>
                  <a:pt x="2981992" y="132969"/>
                  <a:pt x="2973420" y="155353"/>
                  <a:pt x="2973420" y="178213"/>
                </a:cubicBezTo>
                <a:cubicBezTo>
                  <a:pt x="2973420" y="201549"/>
                  <a:pt x="2987707" y="226695"/>
                  <a:pt x="3032760" y="234315"/>
                </a:cubicBezTo>
                <a:lnTo>
                  <a:pt x="3065145" y="239554"/>
                </a:lnTo>
                <a:cubicBezTo>
                  <a:pt x="3079433" y="241935"/>
                  <a:pt x="3088481" y="246697"/>
                  <a:pt x="3088481" y="260032"/>
                </a:cubicBezTo>
                <a:cubicBezTo>
                  <a:pt x="3088481" y="274796"/>
                  <a:pt x="3071813" y="290894"/>
                  <a:pt x="3037999" y="290894"/>
                </a:cubicBezTo>
                <a:cubicBezTo>
                  <a:pt x="3009995" y="290894"/>
                  <a:pt x="2993327" y="281369"/>
                  <a:pt x="2981039" y="267081"/>
                </a:cubicBezTo>
                <a:lnTo>
                  <a:pt x="2938748" y="304133"/>
                </a:lnTo>
                <a:cubicBezTo>
                  <a:pt x="2960656" y="327850"/>
                  <a:pt x="2990088" y="341186"/>
                  <a:pt x="3034189" y="341186"/>
                </a:cubicBezTo>
                <a:cubicBezTo>
                  <a:pt x="3066098" y="341186"/>
                  <a:pt x="3100292" y="333565"/>
                  <a:pt x="3120295" y="314134"/>
                </a:cubicBezTo>
                <a:cubicBezTo>
                  <a:pt x="3136392" y="298513"/>
                  <a:pt x="3146870" y="278987"/>
                  <a:pt x="3146870" y="254222"/>
                </a:cubicBezTo>
                <a:cubicBezTo>
                  <a:pt x="3146870" y="220028"/>
                  <a:pt x="3131153" y="197167"/>
                  <a:pt x="3087053" y="190024"/>
                </a:cubicBezTo>
                <a:lnTo>
                  <a:pt x="3055144" y="184785"/>
                </a:lnTo>
                <a:cubicBezTo>
                  <a:pt x="3039904" y="182404"/>
                  <a:pt x="3032284" y="176689"/>
                  <a:pt x="3032284" y="166211"/>
                </a:cubicBezTo>
                <a:cubicBezTo>
                  <a:pt x="3032284" y="150971"/>
                  <a:pt x="3045619" y="136303"/>
                  <a:pt x="3075623" y="136303"/>
                </a:cubicBezTo>
                <a:cubicBezTo>
                  <a:pt x="3093244" y="136303"/>
                  <a:pt x="3111246" y="142018"/>
                  <a:pt x="3122676" y="153924"/>
                </a:cubicBezTo>
                <a:lnTo>
                  <a:pt x="3163062" y="118300"/>
                </a:lnTo>
                <a:close/>
                <a:moveTo>
                  <a:pt x="2858453" y="231934"/>
                </a:moveTo>
                <a:lnTo>
                  <a:pt x="2855595" y="246697"/>
                </a:lnTo>
                <a:cubicBezTo>
                  <a:pt x="2853214" y="259080"/>
                  <a:pt x="2848451" y="270415"/>
                  <a:pt x="2840831" y="278035"/>
                </a:cubicBezTo>
                <a:cubicBezTo>
                  <a:pt x="2831783" y="287083"/>
                  <a:pt x="2818448" y="293275"/>
                  <a:pt x="2802350" y="293275"/>
                </a:cubicBezTo>
                <a:cubicBezTo>
                  <a:pt x="2780919" y="293275"/>
                  <a:pt x="2770918" y="283750"/>
                  <a:pt x="2770918" y="269938"/>
                </a:cubicBezTo>
                <a:cubicBezTo>
                  <a:pt x="2770918" y="248031"/>
                  <a:pt x="2786634" y="231838"/>
                  <a:pt x="2813209" y="231838"/>
                </a:cubicBezTo>
                <a:lnTo>
                  <a:pt x="2858453" y="231838"/>
                </a:lnTo>
                <a:close/>
                <a:moveTo>
                  <a:pt x="2930652" y="156877"/>
                </a:moveTo>
                <a:cubicBezTo>
                  <a:pt x="2930652" y="104108"/>
                  <a:pt x="2884075" y="88011"/>
                  <a:pt x="2842736" y="88011"/>
                </a:cubicBezTo>
                <a:cubicBezTo>
                  <a:pt x="2796636" y="88011"/>
                  <a:pt x="2770918" y="100870"/>
                  <a:pt x="2751011" y="121253"/>
                </a:cubicBezTo>
                <a:lnTo>
                  <a:pt x="2781395" y="160687"/>
                </a:lnTo>
                <a:cubicBezTo>
                  <a:pt x="2793778" y="146875"/>
                  <a:pt x="2810447" y="137350"/>
                  <a:pt x="2834640" y="137350"/>
                </a:cubicBezTo>
                <a:cubicBezTo>
                  <a:pt x="2859405" y="137350"/>
                  <a:pt x="2871311" y="147352"/>
                  <a:pt x="2871311" y="164021"/>
                </a:cubicBezTo>
                <a:cubicBezTo>
                  <a:pt x="2871311" y="168783"/>
                  <a:pt x="2870835" y="172117"/>
                  <a:pt x="2869883" y="176879"/>
                </a:cubicBezTo>
                <a:lnTo>
                  <a:pt x="2866549" y="191643"/>
                </a:lnTo>
                <a:lnTo>
                  <a:pt x="2807589" y="191643"/>
                </a:lnTo>
                <a:cubicBezTo>
                  <a:pt x="2779014" y="191643"/>
                  <a:pt x="2753868" y="199263"/>
                  <a:pt x="2735390" y="217265"/>
                </a:cubicBezTo>
                <a:cubicBezTo>
                  <a:pt x="2721102" y="231457"/>
                  <a:pt x="2713101" y="251460"/>
                  <a:pt x="2713101" y="275749"/>
                </a:cubicBezTo>
                <a:cubicBezTo>
                  <a:pt x="2713101" y="313277"/>
                  <a:pt x="2740628" y="340805"/>
                  <a:pt x="2783872" y="340805"/>
                </a:cubicBezTo>
                <a:cubicBezTo>
                  <a:pt x="2811018" y="340805"/>
                  <a:pt x="2829973" y="330327"/>
                  <a:pt x="2843784" y="316611"/>
                </a:cubicBezTo>
                <a:lnTo>
                  <a:pt x="2839498" y="338423"/>
                </a:lnTo>
                <a:lnTo>
                  <a:pt x="2896076" y="338423"/>
                </a:lnTo>
                <a:lnTo>
                  <a:pt x="2928366" y="178784"/>
                </a:lnTo>
                <a:cubicBezTo>
                  <a:pt x="2929700" y="172021"/>
                  <a:pt x="2930652" y="163544"/>
                  <a:pt x="2930652" y="156877"/>
                </a:cubicBezTo>
                <a:moveTo>
                  <a:pt x="2697766" y="0"/>
                </a:moveTo>
                <a:lnTo>
                  <a:pt x="2638806" y="0"/>
                </a:lnTo>
                <a:lnTo>
                  <a:pt x="2586133" y="264223"/>
                </a:lnTo>
                <a:cubicBezTo>
                  <a:pt x="2584704" y="270891"/>
                  <a:pt x="2584228" y="277082"/>
                  <a:pt x="2584228" y="284702"/>
                </a:cubicBezTo>
                <a:cubicBezTo>
                  <a:pt x="2584228" y="318421"/>
                  <a:pt x="2609374" y="338328"/>
                  <a:pt x="2643569" y="338328"/>
                </a:cubicBezTo>
                <a:lnTo>
                  <a:pt x="2675858" y="338328"/>
                </a:lnTo>
                <a:lnTo>
                  <a:pt x="2685860" y="288512"/>
                </a:lnTo>
                <a:lnTo>
                  <a:pt x="2661666" y="288512"/>
                </a:lnTo>
                <a:cubicBezTo>
                  <a:pt x="2648807" y="288512"/>
                  <a:pt x="2643569" y="283273"/>
                  <a:pt x="2643569" y="274225"/>
                </a:cubicBezTo>
                <a:cubicBezTo>
                  <a:pt x="2643569" y="270415"/>
                  <a:pt x="2644045" y="268033"/>
                  <a:pt x="2644997" y="263747"/>
                </a:cubicBezTo>
                <a:lnTo>
                  <a:pt x="2697766" y="0"/>
                </a:lnTo>
                <a:close/>
                <a:moveTo>
                  <a:pt x="2514791" y="94583"/>
                </a:moveTo>
                <a:cubicBezTo>
                  <a:pt x="2514791" y="120301"/>
                  <a:pt x="2496217" y="151638"/>
                  <a:pt x="2455355" y="151638"/>
                </a:cubicBezTo>
                <a:lnTo>
                  <a:pt x="2399253" y="151638"/>
                </a:lnTo>
                <a:lnTo>
                  <a:pt x="2418779" y="55531"/>
                </a:lnTo>
                <a:lnTo>
                  <a:pt x="2476786" y="55531"/>
                </a:lnTo>
                <a:cubicBezTo>
                  <a:pt x="2504885" y="55531"/>
                  <a:pt x="2514791" y="73152"/>
                  <a:pt x="2514791" y="94583"/>
                </a:cubicBezTo>
                <a:moveTo>
                  <a:pt x="2578037" y="89345"/>
                </a:moveTo>
                <a:cubicBezTo>
                  <a:pt x="2578037" y="36576"/>
                  <a:pt x="2544795" y="0"/>
                  <a:pt x="2487359" y="0"/>
                </a:cubicBezTo>
                <a:lnTo>
                  <a:pt x="2367058" y="0"/>
                </a:lnTo>
                <a:lnTo>
                  <a:pt x="2299049" y="338328"/>
                </a:lnTo>
                <a:lnTo>
                  <a:pt x="2361819" y="338328"/>
                </a:lnTo>
                <a:lnTo>
                  <a:pt x="2387918" y="207169"/>
                </a:lnTo>
                <a:lnTo>
                  <a:pt x="2453069" y="207169"/>
                </a:lnTo>
                <a:cubicBezTo>
                  <a:pt x="2534317" y="207169"/>
                  <a:pt x="2578037" y="149733"/>
                  <a:pt x="2578037" y="89345"/>
                </a:cubicBezTo>
                <a:moveTo>
                  <a:pt x="2105501" y="173546"/>
                </a:moveTo>
                <a:cubicBezTo>
                  <a:pt x="2105501" y="181165"/>
                  <a:pt x="2104073" y="192596"/>
                  <a:pt x="2101215" y="207740"/>
                </a:cubicBezTo>
                <a:cubicBezTo>
                  <a:pt x="2092643" y="252413"/>
                  <a:pt x="2079307" y="275272"/>
                  <a:pt x="2048923" y="275272"/>
                </a:cubicBezTo>
                <a:cubicBezTo>
                  <a:pt x="2027111" y="275272"/>
                  <a:pt x="2019490" y="260985"/>
                  <a:pt x="2019490" y="242506"/>
                </a:cubicBezTo>
                <a:cubicBezTo>
                  <a:pt x="2019490" y="234887"/>
                  <a:pt x="2020919" y="223456"/>
                  <a:pt x="2023777" y="208312"/>
                </a:cubicBezTo>
                <a:cubicBezTo>
                  <a:pt x="2032349" y="163639"/>
                  <a:pt x="2045589" y="140779"/>
                  <a:pt x="2076069" y="140779"/>
                </a:cubicBezTo>
                <a:cubicBezTo>
                  <a:pt x="2096072" y="140684"/>
                  <a:pt x="2105501" y="152971"/>
                  <a:pt x="2105501" y="173546"/>
                </a:cubicBezTo>
                <a:lnTo>
                  <a:pt x="2105501" y="173546"/>
                </a:lnTo>
                <a:close/>
                <a:moveTo>
                  <a:pt x="2183035" y="90773"/>
                </a:moveTo>
                <a:lnTo>
                  <a:pt x="2125980" y="90773"/>
                </a:lnTo>
                <a:lnTo>
                  <a:pt x="2121218" y="115919"/>
                </a:lnTo>
                <a:cubicBezTo>
                  <a:pt x="2109788" y="97346"/>
                  <a:pt x="2090833" y="87821"/>
                  <a:pt x="2065115" y="87821"/>
                </a:cubicBezTo>
                <a:cubicBezTo>
                  <a:pt x="2042827" y="87821"/>
                  <a:pt x="2020443" y="94012"/>
                  <a:pt x="2001964" y="112490"/>
                </a:cubicBezTo>
                <a:cubicBezTo>
                  <a:pt x="1983010" y="131445"/>
                  <a:pt x="1973485" y="160020"/>
                  <a:pt x="1964912" y="207550"/>
                </a:cubicBezTo>
                <a:cubicBezTo>
                  <a:pt x="1961102" y="228505"/>
                  <a:pt x="1958721" y="246031"/>
                  <a:pt x="1958721" y="257937"/>
                </a:cubicBezTo>
                <a:cubicBezTo>
                  <a:pt x="1958721" y="304514"/>
                  <a:pt x="1990535" y="327755"/>
                  <a:pt x="2027111" y="327755"/>
                </a:cubicBezTo>
                <a:cubicBezTo>
                  <a:pt x="2051876" y="327755"/>
                  <a:pt x="2069402" y="318230"/>
                  <a:pt x="2082260" y="303086"/>
                </a:cubicBezTo>
                <a:lnTo>
                  <a:pt x="2077022" y="328231"/>
                </a:lnTo>
                <a:cubicBezTo>
                  <a:pt x="2070354" y="360140"/>
                  <a:pt x="2049494" y="381953"/>
                  <a:pt x="2016633" y="381953"/>
                </a:cubicBezTo>
                <a:cubicBezTo>
                  <a:pt x="1993392" y="381953"/>
                  <a:pt x="1982914" y="370999"/>
                  <a:pt x="1975295" y="362426"/>
                </a:cubicBezTo>
                <a:lnTo>
                  <a:pt x="1934432" y="398050"/>
                </a:lnTo>
                <a:cubicBezTo>
                  <a:pt x="1955387" y="421767"/>
                  <a:pt x="1980533" y="431768"/>
                  <a:pt x="2016633" y="431768"/>
                </a:cubicBezTo>
                <a:cubicBezTo>
                  <a:pt x="2073688" y="431768"/>
                  <a:pt x="2121218" y="400907"/>
                  <a:pt x="2135505" y="328613"/>
                </a:cubicBezTo>
                <a:lnTo>
                  <a:pt x="2183035" y="90773"/>
                </a:lnTo>
                <a:close/>
                <a:moveTo>
                  <a:pt x="1924431" y="156305"/>
                </a:moveTo>
                <a:cubicBezTo>
                  <a:pt x="1924431" y="107347"/>
                  <a:pt x="1890236" y="87916"/>
                  <a:pt x="1861280" y="87916"/>
                </a:cubicBezTo>
                <a:cubicBezTo>
                  <a:pt x="1835563" y="87916"/>
                  <a:pt x="1811846" y="97441"/>
                  <a:pt x="1796129" y="114490"/>
                </a:cubicBezTo>
                <a:lnTo>
                  <a:pt x="1800415" y="90773"/>
                </a:lnTo>
                <a:lnTo>
                  <a:pt x="1743837" y="90773"/>
                </a:lnTo>
                <a:lnTo>
                  <a:pt x="1694402" y="338328"/>
                </a:lnTo>
                <a:lnTo>
                  <a:pt x="1753362" y="338328"/>
                </a:lnTo>
                <a:lnTo>
                  <a:pt x="1783747" y="188119"/>
                </a:lnTo>
                <a:cubicBezTo>
                  <a:pt x="1791367" y="149066"/>
                  <a:pt x="1816989" y="140589"/>
                  <a:pt x="1834134" y="140589"/>
                </a:cubicBezTo>
                <a:cubicBezTo>
                  <a:pt x="1849374" y="140589"/>
                  <a:pt x="1863566" y="150114"/>
                  <a:pt x="1863566" y="171450"/>
                </a:cubicBezTo>
                <a:cubicBezTo>
                  <a:pt x="1863566" y="176213"/>
                  <a:pt x="1862614" y="181928"/>
                  <a:pt x="1861661" y="187642"/>
                </a:cubicBezTo>
                <a:lnTo>
                  <a:pt x="1831277" y="338328"/>
                </a:lnTo>
                <a:lnTo>
                  <a:pt x="1890141" y="338328"/>
                </a:lnTo>
                <a:lnTo>
                  <a:pt x="1921002" y="183832"/>
                </a:lnTo>
                <a:cubicBezTo>
                  <a:pt x="1923002" y="175831"/>
                  <a:pt x="1924431" y="165354"/>
                  <a:pt x="1924431" y="156305"/>
                </a:cubicBezTo>
                <a:moveTo>
                  <a:pt x="1702022" y="953"/>
                </a:moveTo>
                <a:lnTo>
                  <a:pt x="1641157" y="953"/>
                </a:lnTo>
                <a:lnTo>
                  <a:pt x="1631632" y="49816"/>
                </a:lnTo>
                <a:lnTo>
                  <a:pt x="1692021" y="49816"/>
                </a:lnTo>
                <a:lnTo>
                  <a:pt x="1702022" y="953"/>
                </a:lnTo>
                <a:close/>
                <a:moveTo>
                  <a:pt x="1682115" y="98393"/>
                </a:moveTo>
                <a:lnTo>
                  <a:pt x="1623155" y="98393"/>
                </a:lnTo>
                <a:lnTo>
                  <a:pt x="1575149" y="338423"/>
                </a:lnTo>
                <a:lnTo>
                  <a:pt x="1634109" y="338423"/>
                </a:lnTo>
                <a:lnTo>
                  <a:pt x="1682115" y="98393"/>
                </a:lnTo>
                <a:close/>
                <a:moveTo>
                  <a:pt x="1592199" y="111252"/>
                </a:moveTo>
                <a:cubicBezTo>
                  <a:pt x="1578864" y="95536"/>
                  <a:pt x="1563243" y="88011"/>
                  <a:pt x="1539431" y="88011"/>
                </a:cubicBezTo>
                <a:cubicBezTo>
                  <a:pt x="1513713" y="88011"/>
                  <a:pt x="1490472" y="98488"/>
                  <a:pt x="1476661" y="115062"/>
                </a:cubicBezTo>
                <a:lnTo>
                  <a:pt x="1481900" y="90869"/>
                </a:lnTo>
                <a:lnTo>
                  <a:pt x="1424845" y="90869"/>
                </a:lnTo>
                <a:lnTo>
                  <a:pt x="1375410" y="338423"/>
                </a:lnTo>
                <a:lnTo>
                  <a:pt x="1434370" y="338423"/>
                </a:lnTo>
                <a:lnTo>
                  <a:pt x="1464278" y="188690"/>
                </a:lnTo>
                <a:cubicBezTo>
                  <a:pt x="1469993" y="160115"/>
                  <a:pt x="1490853" y="141161"/>
                  <a:pt x="1514189" y="141161"/>
                </a:cubicBezTo>
                <a:cubicBezTo>
                  <a:pt x="1527048" y="141161"/>
                  <a:pt x="1535144" y="148304"/>
                  <a:pt x="1541240" y="156400"/>
                </a:cubicBezTo>
                <a:lnTo>
                  <a:pt x="1592199" y="111252"/>
                </a:lnTo>
                <a:close/>
                <a:moveTo>
                  <a:pt x="1298067" y="176308"/>
                </a:moveTo>
                <a:cubicBezTo>
                  <a:pt x="1298067" y="181546"/>
                  <a:pt x="1297591" y="187738"/>
                  <a:pt x="1296638" y="192977"/>
                </a:cubicBezTo>
                <a:lnTo>
                  <a:pt x="1205770" y="192977"/>
                </a:lnTo>
                <a:cubicBezTo>
                  <a:pt x="1216724" y="152495"/>
                  <a:pt x="1237679" y="136303"/>
                  <a:pt x="1262825" y="136303"/>
                </a:cubicBezTo>
                <a:cubicBezTo>
                  <a:pt x="1283780" y="136398"/>
                  <a:pt x="1298067" y="150209"/>
                  <a:pt x="1298067" y="176308"/>
                </a:cubicBezTo>
                <a:moveTo>
                  <a:pt x="1354074" y="176308"/>
                </a:moveTo>
                <a:cubicBezTo>
                  <a:pt x="1354074" y="122587"/>
                  <a:pt x="1318451" y="87916"/>
                  <a:pt x="1266158" y="87916"/>
                </a:cubicBezTo>
                <a:cubicBezTo>
                  <a:pt x="1180529" y="87916"/>
                  <a:pt x="1140238" y="171069"/>
                  <a:pt x="1140238" y="254222"/>
                </a:cubicBezTo>
                <a:cubicBezTo>
                  <a:pt x="1140238" y="319373"/>
                  <a:pt x="1189101" y="341186"/>
                  <a:pt x="1231964" y="341186"/>
                </a:cubicBezTo>
                <a:cubicBezTo>
                  <a:pt x="1269111" y="341186"/>
                  <a:pt x="1302830" y="328803"/>
                  <a:pt x="1328452" y="305086"/>
                </a:cubicBezTo>
                <a:lnTo>
                  <a:pt x="1297591" y="266129"/>
                </a:lnTo>
                <a:cubicBezTo>
                  <a:pt x="1280446" y="282797"/>
                  <a:pt x="1262348" y="291370"/>
                  <a:pt x="1238631" y="291370"/>
                </a:cubicBezTo>
                <a:cubicBezTo>
                  <a:pt x="1210056" y="291370"/>
                  <a:pt x="1196340" y="274225"/>
                  <a:pt x="1196340" y="249936"/>
                </a:cubicBezTo>
                <a:cubicBezTo>
                  <a:pt x="1196340" y="244221"/>
                  <a:pt x="1197293" y="238030"/>
                  <a:pt x="1198245" y="232315"/>
                </a:cubicBezTo>
                <a:lnTo>
                  <a:pt x="1346549" y="232315"/>
                </a:lnTo>
                <a:cubicBezTo>
                  <a:pt x="1350740" y="213360"/>
                  <a:pt x="1354074" y="192977"/>
                  <a:pt x="1354074" y="176308"/>
                </a:cubicBezTo>
                <a:moveTo>
                  <a:pt x="1054227" y="176308"/>
                </a:moveTo>
                <a:cubicBezTo>
                  <a:pt x="1054227" y="181546"/>
                  <a:pt x="1053751" y="187738"/>
                  <a:pt x="1052798" y="192977"/>
                </a:cubicBezTo>
                <a:lnTo>
                  <a:pt x="961930" y="192977"/>
                </a:lnTo>
                <a:cubicBezTo>
                  <a:pt x="972884" y="152495"/>
                  <a:pt x="993838" y="136303"/>
                  <a:pt x="1018984" y="136303"/>
                </a:cubicBezTo>
                <a:cubicBezTo>
                  <a:pt x="1039940" y="136398"/>
                  <a:pt x="1054227" y="150209"/>
                  <a:pt x="1054227" y="176308"/>
                </a:cubicBezTo>
                <a:moveTo>
                  <a:pt x="1110234" y="176308"/>
                </a:moveTo>
                <a:cubicBezTo>
                  <a:pt x="1110234" y="122587"/>
                  <a:pt x="1074611" y="87916"/>
                  <a:pt x="1022318" y="87916"/>
                </a:cubicBezTo>
                <a:cubicBezTo>
                  <a:pt x="936688" y="87916"/>
                  <a:pt x="896398" y="171069"/>
                  <a:pt x="896398" y="254222"/>
                </a:cubicBezTo>
                <a:cubicBezTo>
                  <a:pt x="896398" y="319373"/>
                  <a:pt x="945261" y="341186"/>
                  <a:pt x="988124" y="341186"/>
                </a:cubicBezTo>
                <a:cubicBezTo>
                  <a:pt x="1025176" y="341186"/>
                  <a:pt x="1058990" y="328803"/>
                  <a:pt x="1084612" y="305086"/>
                </a:cubicBezTo>
                <a:lnTo>
                  <a:pt x="1053751" y="266129"/>
                </a:lnTo>
                <a:cubicBezTo>
                  <a:pt x="1036606" y="282797"/>
                  <a:pt x="1018604" y="291370"/>
                  <a:pt x="994791" y="291370"/>
                </a:cubicBezTo>
                <a:cubicBezTo>
                  <a:pt x="966216" y="291370"/>
                  <a:pt x="952500" y="274225"/>
                  <a:pt x="952500" y="249936"/>
                </a:cubicBezTo>
                <a:cubicBezTo>
                  <a:pt x="952500" y="244221"/>
                  <a:pt x="953453" y="238030"/>
                  <a:pt x="954405" y="232315"/>
                </a:cubicBezTo>
                <a:lnTo>
                  <a:pt x="1102709" y="232315"/>
                </a:lnTo>
                <a:cubicBezTo>
                  <a:pt x="1106900" y="213360"/>
                  <a:pt x="1110234" y="192977"/>
                  <a:pt x="1110234" y="176308"/>
                </a:cubicBezTo>
                <a:moveTo>
                  <a:pt x="863537" y="156305"/>
                </a:moveTo>
                <a:cubicBezTo>
                  <a:pt x="863537" y="107347"/>
                  <a:pt x="829342" y="87916"/>
                  <a:pt x="800386" y="87916"/>
                </a:cubicBezTo>
                <a:cubicBezTo>
                  <a:pt x="774763" y="87916"/>
                  <a:pt x="750951" y="97441"/>
                  <a:pt x="735235" y="114490"/>
                </a:cubicBezTo>
                <a:lnTo>
                  <a:pt x="739521" y="90773"/>
                </a:lnTo>
                <a:lnTo>
                  <a:pt x="682943" y="90773"/>
                </a:lnTo>
                <a:lnTo>
                  <a:pt x="633508" y="338328"/>
                </a:lnTo>
                <a:lnTo>
                  <a:pt x="692468" y="338328"/>
                </a:lnTo>
                <a:lnTo>
                  <a:pt x="722852" y="188119"/>
                </a:lnTo>
                <a:cubicBezTo>
                  <a:pt x="730472" y="149066"/>
                  <a:pt x="756095" y="140589"/>
                  <a:pt x="773240" y="140589"/>
                </a:cubicBezTo>
                <a:cubicBezTo>
                  <a:pt x="788480" y="140589"/>
                  <a:pt x="802672" y="150114"/>
                  <a:pt x="802672" y="171450"/>
                </a:cubicBezTo>
                <a:cubicBezTo>
                  <a:pt x="802672" y="176213"/>
                  <a:pt x="801719" y="181928"/>
                  <a:pt x="800767" y="187642"/>
                </a:cubicBezTo>
                <a:lnTo>
                  <a:pt x="770382" y="338328"/>
                </a:lnTo>
                <a:lnTo>
                  <a:pt x="829247" y="338328"/>
                </a:lnTo>
                <a:lnTo>
                  <a:pt x="860108" y="183832"/>
                </a:lnTo>
                <a:cubicBezTo>
                  <a:pt x="862108" y="175831"/>
                  <a:pt x="863537" y="165354"/>
                  <a:pt x="863537" y="156305"/>
                </a:cubicBezTo>
                <a:moveTo>
                  <a:pt x="553688" y="176308"/>
                </a:moveTo>
                <a:cubicBezTo>
                  <a:pt x="553688" y="181546"/>
                  <a:pt x="552736" y="193453"/>
                  <a:pt x="548450" y="214313"/>
                </a:cubicBezTo>
                <a:cubicBezTo>
                  <a:pt x="542734" y="245269"/>
                  <a:pt x="535115" y="264700"/>
                  <a:pt x="523208" y="276130"/>
                </a:cubicBezTo>
                <a:cubicBezTo>
                  <a:pt x="515588" y="283750"/>
                  <a:pt x="505111" y="288512"/>
                  <a:pt x="492824" y="288512"/>
                </a:cubicBezTo>
                <a:cubicBezTo>
                  <a:pt x="474250" y="288512"/>
                  <a:pt x="461391" y="276606"/>
                  <a:pt x="461391" y="252889"/>
                </a:cubicBezTo>
                <a:cubicBezTo>
                  <a:pt x="461391" y="247174"/>
                  <a:pt x="462344" y="235744"/>
                  <a:pt x="466630" y="214408"/>
                </a:cubicBezTo>
                <a:cubicBezTo>
                  <a:pt x="472821" y="184023"/>
                  <a:pt x="479965" y="164497"/>
                  <a:pt x="491871" y="153067"/>
                </a:cubicBezTo>
                <a:cubicBezTo>
                  <a:pt x="499491" y="145447"/>
                  <a:pt x="510445" y="140684"/>
                  <a:pt x="522351" y="140684"/>
                </a:cubicBezTo>
                <a:cubicBezTo>
                  <a:pt x="540925" y="140684"/>
                  <a:pt x="553688" y="152019"/>
                  <a:pt x="553688" y="176308"/>
                </a:cubicBezTo>
                <a:moveTo>
                  <a:pt x="612172" y="169640"/>
                </a:moveTo>
                <a:cubicBezTo>
                  <a:pt x="612172" y="112586"/>
                  <a:pt x="569881" y="87916"/>
                  <a:pt x="528542" y="87916"/>
                </a:cubicBezTo>
                <a:cubicBezTo>
                  <a:pt x="497110" y="87916"/>
                  <a:pt x="471011" y="98393"/>
                  <a:pt x="452438" y="116396"/>
                </a:cubicBezTo>
                <a:cubicBezTo>
                  <a:pt x="430625" y="137255"/>
                  <a:pt x="418719" y="162496"/>
                  <a:pt x="408242" y="214313"/>
                </a:cubicBezTo>
                <a:cubicBezTo>
                  <a:pt x="405860" y="225742"/>
                  <a:pt x="403003" y="244316"/>
                  <a:pt x="403003" y="259461"/>
                </a:cubicBezTo>
                <a:cubicBezTo>
                  <a:pt x="403003" y="316516"/>
                  <a:pt x="445294" y="341186"/>
                  <a:pt x="487109" y="341186"/>
                </a:cubicBezTo>
                <a:cubicBezTo>
                  <a:pt x="518541" y="341186"/>
                  <a:pt x="544163" y="330708"/>
                  <a:pt x="563213" y="312706"/>
                </a:cubicBezTo>
                <a:cubicBezTo>
                  <a:pt x="584549" y="291846"/>
                  <a:pt x="596932" y="266605"/>
                  <a:pt x="607409" y="214313"/>
                </a:cubicBezTo>
                <a:cubicBezTo>
                  <a:pt x="609314" y="203454"/>
                  <a:pt x="612172" y="184880"/>
                  <a:pt x="612172" y="169640"/>
                </a:cubicBezTo>
                <a:moveTo>
                  <a:pt x="401098" y="953"/>
                </a:moveTo>
                <a:lnTo>
                  <a:pt x="340233" y="953"/>
                </a:lnTo>
                <a:lnTo>
                  <a:pt x="330708" y="49816"/>
                </a:lnTo>
                <a:lnTo>
                  <a:pt x="391096" y="49816"/>
                </a:lnTo>
                <a:lnTo>
                  <a:pt x="401098" y="953"/>
                </a:lnTo>
                <a:close/>
                <a:moveTo>
                  <a:pt x="381191" y="98393"/>
                </a:moveTo>
                <a:lnTo>
                  <a:pt x="322231" y="98393"/>
                </a:lnTo>
                <a:lnTo>
                  <a:pt x="274225" y="338423"/>
                </a:lnTo>
                <a:lnTo>
                  <a:pt x="333184" y="338423"/>
                </a:lnTo>
                <a:lnTo>
                  <a:pt x="381191" y="98393"/>
                </a:lnTo>
                <a:close/>
                <a:moveTo>
                  <a:pt x="215741" y="94583"/>
                </a:moveTo>
                <a:cubicBezTo>
                  <a:pt x="215741" y="120301"/>
                  <a:pt x="197167" y="151638"/>
                  <a:pt x="156305" y="151638"/>
                </a:cubicBezTo>
                <a:lnTo>
                  <a:pt x="100203" y="151638"/>
                </a:lnTo>
                <a:lnTo>
                  <a:pt x="119729" y="55531"/>
                </a:lnTo>
                <a:lnTo>
                  <a:pt x="177737" y="55531"/>
                </a:lnTo>
                <a:cubicBezTo>
                  <a:pt x="205835" y="55531"/>
                  <a:pt x="215741" y="73152"/>
                  <a:pt x="215741" y="94583"/>
                </a:cubicBezTo>
                <a:moveTo>
                  <a:pt x="278987" y="89345"/>
                </a:moveTo>
                <a:cubicBezTo>
                  <a:pt x="278987" y="36576"/>
                  <a:pt x="245745" y="0"/>
                  <a:pt x="188214" y="0"/>
                </a:cubicBezTo>
                <a:lnTo>
                  <a:pt x="68008" y="0"/>
                </a:lnTo>
                <a:lnTo>
                  <a:pt x="0" y="338328"/>
                </a:lnTo>
                <a:lnTo>
                  <a:pt x="62770" y="338328"/>
                </a:lnTo>
                <a:lnTo>
                  <a:pt x="88868" y="207169"/>
                </a:lnTo>
                <a:lnTo>
                  <a:pt x="154019" y="207169"/>
                </a:lnTo>
                <a:cubicBezTo>
                  <a:pt x="235267" y="207169"/>
                  <a:pt x="278987" y="149733"/>
                  <a:pt x="278987" y="89345"/>
                </a:cubicBezTo>
              </a:path>
            </a:pathLst>
          </a:custGeom>
          <a:solidFill>
            <a:srgbClr val="FF83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oliennummernplatzhalter 3">
            <a:extLst>
              <a:ext uri="{FF2B5EF4-FFF2-40B4-BE49-F238E27FC236}">
                <a16:creationId xmlns:a16="http://schemas.microsoft.com/office/drawing/2014/main" id="{46689E8E-9B7C-42F8-A91C-96BC6870D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7EFBAA7-8D5B-4800-B083-2C49924946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90964" y="6077375"/>
            <a:ext cx="7677146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4646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7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Contents and Graphic botto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266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B5DA1919-4FF5-4044-8BB3-A412721DA9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-1" y="5411145"/>
            <a:ext cx="4802909" cy="144685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5364162" cy="316706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358438C-824A-4715-A8D3-491E5A16F92F}"/>
              </a:ext>
            </a:extLst>
          </p:cNvPr>
          <p:cNvGrpSpPr/>
          <p:nvPr userDrawn="1"/>
        </p:nvGrpSpPr>
        <p:grpSpPr>
          <a:xfrm>
            <a:off x="623888" y="6415097"/>
            <a:ext cx="841094" cy="111909"/>
            <a:chOff x="223019" y="5512949"/>
            <a:chExt cx="2540191" cy="337977"/>
          </a:xfrm>
          <a:solidFill>
            <a:schemeClr val="bg1"/>
          </a:solidFill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82722A87-43DD-4AF4-98FF-4A29AE1AFCEE}"/>
                </a:ext>
              </a:extLst>
            </p:cNvPr>
            <p:cNvSpPr/>
            <p:nvPr/>
          </p:nvSpPr>
          <p:spPr>
            <a:xfrm>
              <a:off x="490471" y="5606744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9A5982D-C624-45E2-87B9-64CBF9DE321D}"/>
                </a:ext>
              </a:extLst>
            </p:cNvPr>
            <p:cNvSpPr/>
            <p:nvPr/>
          </p:nvSpPr>
          <p:spPr>
            <a:xfrm>
              <a:off x="882599" y="5611914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C7FE56EA-E899-4309-A1EF-F9E5A641AD08}"/>
                </a:ext>
              </a:extLst>
            </p:cNvPr>
            <p:cNvSpPr/>
            <p:nvPr/>
          </p:nvSpPr>
          <p:spPr>
            <a:xfrm>
              <a:off x="1328017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29B403E2-C66A-434E-9F82-1DC8217F98B5}"/>
                </a:ext>
              </a:extLst>
            </p:cNvPr>
            <p:cNvSpPr/>
            <p:nvPr/>
          </p:nvSpPr>
          <p:spPr>
            <a:xfrm>
              <a:off x="2705755" y="5512949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3B16F8D3-224B-45C9-9125-FA1A3ACA26A8}"/>
                </a:ext>
              </a:extLst>
            </p:cNvPr>
            <p:cNvSpPr/>
            <p:nvPr/>
          </p:nvSpPr>
          <p:spPr>
            <a:xfrm>
              <a:off x="2427843" y="5606026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DDCD0D8C-D4AF-4414-9345-E5D07A7B8980}"/>
                </a:ext>
              </a:extLst>
            </p:cNvPr>
            <p:cNvSpPr/>
            <p:nvPr/>
          </p:nvSpPr>
          <p:spPr>
            <a:xfrm>
              <a:off x="2651342" y="5614356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9F04523A-14F8-4A02-9688-3F42B6242C89}"/>
                </a:ext>
              </a:extLst>
            </p:cNvPr>
            <p:cNvSpPr/>
            <p:nvPr/>
          </p:nvSpPr>
          <p:spPr>
            <a:xfrm>
              <a:off x="1914198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DD096664-C11E-4D4D-B82E-DB58DC2547E1}"/>
                </a:ext>
              </a:extLst>
            </p:cNvPr>
            <p:cNvSpPr/>
            <p:nvPr/>
          </p:nvSpPr>
          <p:spPr>
            <a:xfrm>
              <a:off x="1117732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253D256-BD98-454C-9864-11CD79F58D9A}"/>
                </a:ext>
              </a:extLst>
            </p:cNvPr>
            <p:cNvSpPr/>
            <p:nvPr/>
          </p:nvSpPr>
          <p:spPr>
            <a:xfrm>
              <a:off x="2154790" y="5521567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576CCF6A-1EB4-47C0-A982-0CE38B4A49E3}"/>
                </a:ext>
              </a:extLst>
            </p:cNvPr>
            <p:cNvSpPr/>
            <p:nvPr/>
          </p:nvSpPr>
          <p:spPr>
            <a:xfrm>
              <a:off x="637269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456D4AA6-EC9B-414A-9DB0-E42B38E54348}"/>
                </a:ext>
              </a:extLst>
            </p:cNvPr>
            <p:cNvSpPr/>
            <p:nvPr/>
          </p:nvSpPr>
          <p:spPr>
            <a:xfrm>
              <a:off x="223019" y="5521567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142CB4E5-5B72-471B-A2FF-899D3EA0F265}"/>
                </a:ext>
              </a:extLst>
            </p:cNvPr>
            <p:cNvSpPr/>
            <p:nvPr/>
          </p:nvSpPr>
          <p:spPr>
            <a:xfrm>
              <a:off x="1579955" y="5521567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A75BBC66-272E-4E4F-BA98-4FFC65F9C095}"/>
              </a:ext>
            </a:extLst>
          </p:cNvPr>
          <p:cNvSpPr/>
          <p:nvPr userDrawn="1"/>
        </p:nvSpPr>
        <p:spPr>
          <a:xfrm>
            <a:off x="1796103" y="6422713"/>
            <a:ext cx="1189211" cy="131809"/>
          </a:xfrm>
          <a:custGeom>
            <a:avLst/>
            <a:gdLst>
              <a:gd name="connsiteX0" fmla="*/ 3869817 w 3867150"/>
              <a:gd name="connsiteY0" fmla="*/ 118300 h 428625"/>
              <a:gd name="connsiteX1" fmla="*/ 3787617 w 3867150"/>
              <a:gd name="connsiteY1" fmla="*/ 87916 h 428625"/>
              <a:gd name="connsiteX2" fmla="*/ 3705416 w 3867150"/>
              <a:gd name="connsiteY2" fmla="*/ 116396 h 428625"/>
              <a:gd name="connsiteX3" fmla="*/ 3680270 w 3867150"/>
              <a:gd name="connsiteY3" fmla="*/ 178213 h 428625"/>
              <a:gd name="connsiteX4" fmla="*/ 3739610 w 3867150"/>
              <a:gd name="connsiteY4" fmla="*/ 234315 h 428625"/>
              <a:gd name="connsiteX5" fmla="*/ 3771995 w 3867150"/>
              <a:gd name="connsiteY5" fmla="*/ 239554 h 428625"/>
              <a:gd name="connsiteX6" fmla="*/ 3795332 w 3867150"/>
              <a:gd name="connsiteY6" fmla="*/ 260032 h 428625"/>
              <a:gd name="connsiteX7" fmla="*/ 3744944 w 3867150"/>
              <a:gd name="connsiteY7" fmla="*/ 290894 h 428625"/>
              <a:gd name="connsiteX8" fmla="*/ 3687985 w 3867150"/>
              <a:gd name="connsiteY8" fmla="*/ 267081 h 428625"/>
              <a:gd name="connsiteX9" fmla="*/ 3645694 w 3867150"/>
              <a:gd name="connsiteY9" fmla="*/ 304133 h 428625"/>
              <a:gd name="connsiteX10" fmla="*/ 3741135 w 3867150"/>
              <a:gd name="connsiteY10" fmla="*/ 341186 h 428625"/>
              <a:gd name="connsiteX11" fmla="*/ 3827145 w 3867150"/>
              <a:gd name="connsiteY11" fmla="*/ 314134 h 428625"/>
              <a:gd name="connsiteX12" fmla="*/ 3853720 w 3867150"/>
              <a:gd name="connsiteY12" fmla="*/ 254222 h 428625"/>
              <a:gd name="connsiteX13" fmla="*/ 3793903 w 3867150"/>
              <a:gd name="connsiteY13" fmla="*/ 190024 h 428625"/>
              <a:gd name="connsiteX14" fmla="*/ 3761994 w 3867150"/>
              <a:gd name="connsiteY14" fmla="*/ 184785 h 428625"/>
              <a:gd name="connsiteX15" fmla="*/ 3739134 w 3867150"/>
              <a:gd name="connsiteY15" fmla="*/ 166211 h 428625"/>
              <a:gd name="connsiteX16" fmla="*/ 3782377 w 3867150"/>
              <a:gd name="connsiteY16" fmla="*/ 136303 h 428625"/>
              <a:gd name="connsiteX17" fmla="*/ 3829431 w 3867150"/>
              <a:gd name="connsiteY17" fmla="*/ 153924 h 428625"/>
              <a:gd name="connsiteX18" fmla="*/ 3869817 w 3867150"/>
              <a:gd name="connsiteY18" fmla="*/ 118300 h 428625"/>
              <a:gd name="connsiteX19" fmla="*/ 3661220 w 3867150"/>
              <a:gd name="connsiteY19" fmla="*/ 122111 h 428625"/>
              <a:gd name="connsiteX20" fmla="*/ 3588544 w 3867150"/>
              <a:gd name="connsiteY20" fmla="*/ 87916 h 428625"/>
              <a:gd name="connsiteX21" fmla="*/ 3462623 w 3867150"/>
              <a:gd name="connsiteY21" fmla="*/ 214313 h 428625"/>
              <a:gd name="connsiteX22" fmla="*/ 3458813 w 3867150"/>
              <a:gd name="connsiteY22" fmla="*/ 252794 h 428625"/>
              <a:gd name="connsiteX23" fmla="*/ 3547586 w 3867150"/>
              <a:gd name="connsiteY23" fmla="*/ 341186 h 428625"/>
              <a:gd name="connsiteX24" fmla="*/ 3629311 w 3867150"/>
              <a:gd name="connsiteY24" fmla="*/ 309848 h 428625"/>
              <a:gd name="connsiteX25" fmla="*/ 3596545 w 3867150"/>
              <a:gd name="connsiteY25" fmla="*/ 267557 h 428625"/>
              <a:gd name="connsiteX26" fmla="*/ 3553301 w 3867150"/>
              <a:gd name="connsiteY26" fmla="*/ 288512 h 428625"/>
              <a:gd name="connsiteX27" fmla="*/ 3518154 w 3867150"/>
              <a:gd name="connsiteY27" fmla="*/ 246221 h 428625"/>
              <a:gd name="connsiteX28" fmla="*/ 3521488 w 3867150"/>
              <a:gd name="connsiteY28" fmla="*/ 214313 h 428625"/>
              <a:gd name="connsiteX29" fmla="*/ 3547586 w 3867150"/>
              <a:gd name="connsiteY29" fmla="*/ 156305 h 428625"/>
              <a:gd name="connsiteX30" fmla="*/ 3582734 w 3867150"/>
              <a:gd name="connsiteY30" fmla="*/ 140589 h 428625"/>
              <a:gd name="connsiteX31" fmla="*/ 3616928 w 3867150"/>
              <a:gd name="connsiteY31" fmla="*/ 161068 h 428625"/>
              <a:gd name="connsiteX32" fmla="*/ 3661220 w 3867150"/>
              <a:gd name="connsiteY32" fmla="*/ 122111 h 428625"/>
              <a:gd name="connsiteX33" fmla="*/ 3456813 w 3867150"/>
              <a:gd name="connsiteY33" fmla="*/ 953 h 428625"/>
              <a:gd name="connsiteX34" fmla="*/ 3395948 w 3867150"/>
              <a:gd name="connsiteY34" fmla="*/ 953 h 428625"/>
              <a:gd name="connsiteX35" fmla="*/ 3386423 w 3867150"/>
              <a:gd name="connsiteY35" fmla="*/ 49816 h 428625"/>
              <a:gd name="connsiteX36" fmla="*/ 3446812 w 3867150"/>
              <a:gd name="connsiteY36" fmla="*/ 49816 h 428625"/>
              <a:gd name="connsiteX37" fmla="*/ 3456813 w 3867150"/>
              <a:gd name="connsiteY37" fmla="*/ 953 h 428625"/>
              <a:gd name="connsiteX38" fmla="*/ 3436906 w 3867150"/>
              <a:gd name="connsiteY38" fmla="*/ 98393 h 428625"/>
              <a:gd name="connsiteX39" fmla="*/ 3377946 w 3867150"/>
              <a:gd name="connsiteY39" fmla="*/ 98393 h 428625"/>
              <a:gd name="connsiteX40" fmla="*/ 3329940 w 3867150"/>
              <a:gd name="connsiteY40" fmla="*/ 338423 h 428625"/>
              <a:gd name="connsiteX41" fmla="*/ 3388900 w 3867150"/>
              <a:gd name="connsiteY41" fmla="*/ 338423 h 428625"/>
              <a:gd name="connsiteX42" fmla="*/ 3436906 w 3867150"/>
              <a:gd name="connsiteY42" fmla="*/ 98393 h 428625"/>
              <a:gd name="connsiteX43" fmla="*/ 3328035 w 3867150"/>
              <a:gd name="connsiteY43" fmla="*/ 98393 h 428625"/>
              <a:gd name="connsiteX44" fmla="*/ 3287173 w 3867150"/>
              <a:gd name="connsiteY44" fmla="*/ 98393 h 428625"/>
              <a:gd name="connsiteX45" fmla="*/ 3301937 w 3867150"/>
              <a:gd name="connsiteY45" fmla="*/ 24289 h 428625"/>
              <a:gd name="connsiteX46" fmla="*/ 3242977 w 3867150"/>
              <a:gd name="connsiteY46" fmla="*/ 24289 h 428625"/>
              <a:gd name="connsiteX47" fmla="*/ 3228213 w 3867150"/>
              <a:gd name="connsiteY47" fmla="*/ 98393 h 428625"/>
              <a:gd name="connsiteX48" fmla="*/ 3203067 w 3867150"/>
              <a:gd name="connsiteY48" fmla="*/ 98393 h 428625"/>
              <a:gd name="connsiteX49" fmla="*/ 3194019 w 3867150"/>
              <a:gd name="connsiteY49" fmla="*/ 142970 h 428625"/>
              <a:gd name="connsiteX50" fmla="*/ 3219164 w 3867150"/>
              <a:gd name="connsiteY50" fmla="*/ 142970 h 428625"/>
              <a:gd name="connsiteX51" fmla="*/ 3194971 w 3867150"/>
              <a:gd name="connsiteY51" fmla="*/ 264223 h 428625"/>
              <a:gd name="connsiteX52" fmla="*/ 3193066 w 3867150"/>
              <a:gd name="connsiteY52" fmla="*/ 284702 h 428625"/>
              <a:gd name="connsiteX53" fmla="*/ 3252883 w 3867150"/>
              <a:gd name="connsiteY53" fmla="*/ 338328 h 428625"/>
              <a:gd name="connsiteX54" fmla="*/ 3283268 w 3867150"/>
              <a:gd name="connsiteY54" fmla="*/ 338328 h 428625"/>
              <a:gd name="connsiteX55" fmla="*/ 3293269 w 3867150"/>
              <a:gd name="connsiteY55" fmla="*/ 288988 h 428625"/>
              <a:gd name="connsiteX56" fmla="*/ 3271933 w 3867150"/>
              <a:gd name="connsiteY56" fmla="*/ 288988 h 428625"/>
              <a:gd name="connsiteX57" fmla="*/ 3252883 w 3867150"/>
              <a:gd name="connsiteY57" fmla="*/ 273748 h 428625"/>
              <a:gd name="connsiteX58" fmla="*/ 3253836 w 3867150"/>
              <a:gd name="connsiteY58" fmla="*/ 264700 h 428625"/>
              <a:gd name="connsiteX59" fmla="*/ 3278029 w 3867150"/>
              <a:gd name="connsiteY59" fmla="*/ 142970 h 428625"/>
              <a:gd name="connsiteX60" fmla="*/ 3318891 w 3867150"/>
              <a:gd name="connsiteY60" fmla="*/ 142970 h 428625"/>
              <a:gd name="connsiteX61" fmla="*/ 3328035 w 3867150"/>
              <a:gd name="connsiteY61" fmla="*/ 98393 h 428625"/>
              <a:gd name="connsiteX62" fmla="*/ 3163062 w 3867150"/>
              <a:gd name="connsiteY62" fmla="*/ 118300 h 428625"/>
              <a:gd name="connsiteX63" fmla="*/ 3080861 w 3867150"/>
              <a:gd name="connsiteY63" fmla="*/ 87916 h 428625"/>
              <a:gd name="connsiteX64" fmla="*/ 2998565 w 3867150"/>
              <a:gd name="connsiteY64" fmla="*/ 116396 h 428625"/>
              <a:gd name="connsiteX65" fmla="*/ 2973420 w 3867150"/>
              <a:gd name="connsiteY65" fmla="*/ 178213 h 428625"/>
              <a:gd name="connsiteX66" fmla="*/ 3032760 w 3867150"/>
              <a:gd name="connsiteY66" fmla="*/ 234315 h 428625"/>
              <a:gd name="connsiteX67" fmla="*/ 3065145 w 3867150"/>
              <a:gd name="connsiteY67" fmla="*/ 239554 h 428625"/>
              <a:gd name="connsiteX68" fmla="*/ 3088481 w 3867150"/>
              <a:gd name="connsiteY68" fmla="*/ 260032 h 428625"/>
              <a:gd name="connsiteX69" fmla="*/ 3037999 w 3867150"/>
              <a:gd name="connsiteY69" fmla="*/ 290894 h 428625"/>
              <a:gd name="connsiteX70" fmla="*/ 2981039 w 3867150"/>
              <a:gd name="connsiteY70" fmla="*/ 267081 h 428625"/>
              <a:gd name="connsiteX71" fmla="*/ 2938748 w 3867150"/>
              <a:gd name="connsiteY71" fmla="*/ 304133 h 428625"/>
              <a:gd name="connsiteX72" fmla="*/ 3034189 w 3867150"/>
              <a:gd name="connsiteY72" fmla="*/ 341186 h 428625"/>
              <a:gd name="connsiteX73" fmla="*/ 3120295 w 3867150"/>
              <a:gd name="connsiteY73" fmla="*/ 314134 h 428625"/>
              <a:gd name="connsiteX74" fmla="*/ 3146870 w 3867150"/>
              <a:gd name="connsiteY74" fmla="*/ 254222 h 428625"/>
              <a:gd name="connsiteX75" fmla="*/ 3087053 w 3867150"/>
              <a:gd name="connsiteY75" fmla="*/ 190024 h 428625"/>
              <a:gd name="connsiteX76" fmla="*/ 3055144 w 3867150"/>
              <a:gd name="connsiteY76" fmla="*/ 184785 h 428625"/>
              <a:gd name="connsiteX77" fmla="*/ 3032284 w 3867150"/>
              <a:gd name="connsiteY77" fmla="*/ 166211 h 428625"/>
              <a:gd name="connsiteX78" fmla="*/ 3075623 w 3867150"/>
              <a:gd name="connsiteY78" fmla="*/ 136303 h 428625"/>
              <a:gd name="connsiteX79" fmla="*/ 3122676 w 3867150"/>
              <a:gd name="connsiteY79" fmla="*/ 153924 h 428625"/>
              <a:gd name="connsiteX80" fmla="*/ 3163062 w 3867150"/>
              <a:gd name="connsiteY80" fmla="*/ 118300 h 428625"/>
              <a:gd name="connsiteX81" fmla="*/ 2858453 w 3867150"/>
              <a:gd name="connsiteY81" fmla="*/ 231934 h 428625"/>
              <a:gd name="connsiteX82" fmla="*/ 2855595 w 3867150"/>
              <a:gd name="connsiteY82" fmla="*/ 246697 h 428625"/>
              <a:gd name="connsiteX83" fmla="*/ 2840831 w 3867150"/>
              <a:gd name="connsiteY83" fmla="*/ 278035 h 428625"/>
              <a:gd name="connsiteX84" fmla="*/ 2802350 w 3867150"/>
              <a:gd name="connsiteY84" fmla="*/ 293275 h 428625"/>
              <a:gd name="connsiteX85" fmla="*/ 2770918 w 3867150"/>
              <a:gd name="connsiteY85" fmla="*/ 269938 h 428625"/>
              <a:gd name="connsiteX86" fmla="*/ 2813209 w 3867150"/>
              <a:gd name="connsiteY86" fmla="*/ 231838 h 428625"/>
              <a:gd name="connsiteX87" fmla="*/ 2858453 w 3867150"/>
              <a:gd name="connsiteY87" fmla="*/ 231838 h 428625"/>
              <a:gd name="connsiteX88" fmla="*/ 2930652 w 3867150"/>
              <a:gd name="connsiteY88" fmla="*/ 156877 h 428625"/>
              <a:gd name="connsiteX89" fmla="*/ 2842736 w 3867150"/>
              <a:gd name="connsiteY89" fmla="*/ 88011 h 428625"/>
              <a:gd name="connsiteX90" fmla="*/ 2751011 w 3867150"/>
              <a:gd name="connsiteY90" fmla="*/ 121253 h 428625"/>
              <a:gd name="connsiteX91" fmla="*/ 2781395 w 3867150"/>
              <a:gd name="connsiteY91" fmla="*/ 160687 h 428625"/>
              <a:gd name="connsiteX92" fmla="*/ 2834640 w 3867150"/>
              <a:gd name="connsiteY92" fmla="*/ 137350 h 428625"/>
              <a:gd name="connsiteX93" fmla="*/ 2871311 w 3867150"/>
              <a:gd name="connsiteY93" fmla="*/ 164021 h 428625"/>
              <a:gd name="connsiteX94" fmla="*/ 2869883 w 3867150"/>
              <a:gd name="connsiteY94" fmla="*/ 176879 h 428625"/>
              <a:gd name="connsiteX95" fmla="*/ 2866549 w 3867150"/>
              <a:gd name="connsiteY95" fmla="*/ 191643 h 428625"/>
              <a:gd name="connsiteX96" fmla="*/ 2807589 w 3867150"/>
              <a:gd name="connsiteY96" fmla="*/ 191643 h 428625"/>
              <a:gd name="connsiteX97" fmla="*/ 2735390 w 3867150"/>
              <a:gd name="connsiteY97" fmla="*/ 217265 h 428625"/>
              <a:gd name="connsiteX98" fmla="*/ 2713101 w 3867150"/>
              <a:gd name="connsiteY98" fmla="*/ 275749 h 428625"/>
              <a:gd name="connsiteX99" fmla="*/ 2783872 w 3867150"/>
              <a:gd name="connsiteY99" fmla="*/ 340805 h 428625"/>
              <a:gd name="connsiteX100" fmla="*/ 2843784 w 3867150"/>
              <a:gd name="connsiteY100" fmla="*/ 316611 h 428625"/>
              <a:gd name="connsiteX101" fmla="*/ 2839498 w 3867150"/>
              <a:gd name="connsiteY101" fmla="*/ 338423 h 428625"/>
              <a:gd name="connsiteX102" fmla="*/ 2896076 w 3867150"/>
              <a:gd name="connsiteY102" fmla="*/ 338423 h 428625"/>
              <a:gd name="connsiteX103" fmla="*/ 2928366 w 3867150"/>
              <a:gd name="connsiteY103" fmla="*/ 178784 h 428625"/>
              <a:gd name="connsiteX104" fmla="*/ 2930652 w 3867150"/>
              <a:gd name="connsiteY104" fmla="*/ 156877 h 428625"/>
              <a:gd name="connsiteX105" fmla="*/ 2697766 w 3867150"/>
              <a:gd name="connsiteY105" fmla="*/ 0 h 428625"/>
              <a:gd name="connsiteX106" fmla="*/ 2638806 w 3867150"/>
              <a:gd name="connsiteY106" fmla="*/ 0 h 428625"/>
              <a:gd name="connsiteX107" fmla="*/ 2586133 w 3867150"/>
              <a:gd name="connsiteY107" fmla="*/ 264223 h 428625"/>
              <a:gd name="connsiteX108" fmla="*/ 2584228 w 3867150"/>
              <a:gd name="connsiteY108" fmla="*/ 284702 h 428625"/>
              <a:gd name="connsiteX109" fmla="*/ 2643569 w 3867150"/>
              <a:gd name="connsiteY109" fmla="*/ 338328 h 428625"/>
              <a:gd name="connsiteX110" fmla="*/ 2675858 w 3867150"/>
              <a:gd name="connsiteY110" fmla="*/ 338328 h 428625"/>
              <a:gd name="connsiteX111" fmla="*/ 2685860 w 3867150"/>
              <a:gd name="connsiteY111" fmla="*/ 288512 h 428625"/>
              <a:gd name="connsiteX112" fmla="*/ 2661666 w 3867150"/>
              <a:gd name="connsiteY112" fmla="*/ 288512 h 428625"/>
              <a:gd name="connsiteX113" fmla="*/ 2643569 w 3867150"/>
              <a:gd name="connsiteY113" fmla="*/ 274225 h 428625"/>
              <a:gd name="connsiteX114" fmla="*/ 2644997 w 3867150"/>
              <a:gd name="connsiteY114" fmla="*/ 263747 h 428625"/>
              <a:gd name="connsiteX115" fmla="*/ 2697766 w 3867150"/>
              <a:gd name="connsiteY115" fmla="*/ 0 h 428625"/>
              <a:gd name="connsiteX116" fmla="*/ 2514791 w 3867150"/>
              <a:gd name="connsiteY116" fmla="*/ 94583 h 428625"/>
              <a:gd name="connsiteX117" fmla="*/ 2455355 w 3867150"/>
              <a:gd name="connsiteY117" fmla="*/ 151638 h 428625"/>
              <a:gd name="connsiteX118" fmla="*/ 2399253 w 3867150"/>
              <a:gd name="connsiteY118" fmla="*/ 151638 h 428625"/>
              <a:gd name="connsiteX119" fmla="*/ 2418779 w 3867150"/>
              <a:gd name="connsiteY119" fmla="*/ 55531 h 428625"/>
              <a:gd name="connsiteX120" fmla="*/ 2476786 w 3867150"/>
              <a:gd name="connsiteY120" fmla="*/ 55531 h 428625"/>
              <a:gd name="connsiteX121" fmla="*/ 2514791 w 3867150"/>
              <a:gd name="connsiteY121" fmla="*/ 94583 h 428625"/>
              <a:gd name="connsiteX122" fmla="*/ 2578037 w 3867150"/>
              <a:gd name="connsiteY122" fmla="*/ 89345 h 428625"/>
              <a:gd name="connsiteX123" fmla="*/ 2487359 w 3867150"/>
              <a:gd name="connsiteY123" fmla="*/ 0 h 428625"/>
              <a:gd name="connsiteX124" fmla="*/ 2367058 w 3867150"/>
              <a:gd name="connsiteY124" fmla="*/ 0 h 428625"/>
              <a:gd name="connsiteX125" fmla="*/ 2299049 w 3867150"/>
              <a:gd name="connsiteY125" fmla="*/ 338328 h 428625"/>
              <a:gd name="connsiteX126" fmla="*/ 2361819 w 3867150"/>
              <a:gd name="connsiteY126" fmla="*/ 338328 h 428625"/>
              <a:gd name="connsiteX127" fmla="*/ 2387918 w 3867150"/>
              <a:gd name="connsiteY127" fmla="*/ 207169 h 428625"/>
              <a:gd name="connsiteX128" fmla="*/ 2453069 w 3867150"/>
              <a:gd name="connsiteY128" fmla="*/ 207169 h 428625"/>
              <a:gd name="connsiteX129" fmla="*/ 2578037 w 3867150"/>
              <a:gd name="connsiteY129" fmla="*/ 89345 h 428625"/>
              <a:gd name="connsiteX130" fmla="*/ 2105501 w 3867150"/>
              <a:gd name="connsiteY130" fmla="*/ 173546 h 428625"/>
              <a:gd name="connsiteX131" fmla="*/ 2101215 w 3867150"/>
              <a:gd name="connsiteY131" fmla="*/ 207740 h 428625"/>
              <a:gd name="connsiteX132" fmla="*/ 2048923 w 3867150"/>
              <a:gd name="connsiteY132" fmla="*/ 275272 h 428625"/>
              <a:gd name="connsiteX133" fmla="*/ 2019490 w 3867150"/>
              <a:gd name="connsiteY133" fmla="*/ 242506 h 428625"/>
              <a:gd name="connsiteX134" fmla="*/ 2023777 w 3867150"/>
              <a:gd name="connsiteY134" fmla="*/ 208312 h 428625"/>
              <a:gd name="connsiteX135" fmla="*/ 2076069 w 3867150"/>
              <a:gd name="connsiteY135" fmla="*/ 140779 h 428625"/>
              <a:gd name="connsiteX136" fmla="*/ 2105501 w 3867150"/>
              <a:gd name="connsiteY136" fmla="*/ 173546 h 428625"/>
              <a:gd name="connsiteX137" fmla="*/ 2105501 w 3867150"/>
              <a:gd name="connsiteY137" fmla="*/ 173546 h 428625"/>
              <a:gd name="connsiteX138" fmla="*/ 2183035 w 3867150"/>
              <a:gd name="connsiteY138" fmla="*/ 90773 h 428625"/>
              <a:gd name="connsiteX139" fmla="*/ 2125980 w 3867150"/>
              <a:gd name="connsiteY139" fmla="*/ 90773 h 428625"/>
              <a:gd name="connsiteX140" fmla="*/ 2121218 w 3867150"/>
              <a:gd name="connsiteY140" fmla="*/ 115919 h 428625"/>
              <a:gd name="connsiteX141" fmla="*/ 2065115 w 3867150"/>
              <a:gd name="connsiteY141" fmla="*/ 87821 h 428625"/>
              <a:gd name="connsiteX142" fmla="*/ 2001964 w 3867150"/>
              <a:gd name="connsiteY142" fmla="*/ 112490 h 428625"/>
              <a:gd name="connsiteX143" fmla="*/ 1964912 w 3867150"/>
              <a:gd name="connsiteY143" fmla="*/ 207550 h 428625"/>
              <a:gd name="connsiteX144" fmla="*/ 1958721 w 3867150"/>
              <a:gd name="connsiteY144" fmla="*/ 257937 h 428625"/>
              <a:gd name="connsiteX145" fmla="*/ 2027111 w 3867150"/>
              <a:gd name="connsiteY145" fmla="*/ 327755 h 428625"/>
              <a:gd name="connsiteX146" fmla="*/ 2082260 w 3867150"/>
              <a:gd name="connsiteY146" fmla="*/ 303086 h 428625"/>
              <a:gd name="connsiteX147" fmla="*/ 2077022 w 3867150"/>
              <a:gd name="connsiteY147" fmla="*/ 328231 h 428625"/>
              <a:gd name="connsiteX148" fmla="*/ 2016633 w 3867150"/>
              <a:gd name="connsiteY148" fmla="*/ 381953 h 428625"/>
              <a:gd name="connsiteX149" fmla="*/ 1975295 w 3867150"/>
              <a:gd name="connsiteY149" fmla="*/ 362426 h 428625"/>
              <a:gd name="connsiteX150" fmla="*/ 1934432 w 3867150"/>
              <a:gd name="connsiteY150" fmla="*/ 398050 h 428625"/>
              <a:gd name="connsiteX151" fmla="*/ 2016633 w 3867150"/>
              <a:gd name="connsiteY151" fmla="*/ 431768 h 428625"/>
              <a:gd name="connsiteX152" fmla="*/ 2135505 w 3867150"/>
              <a:gd name="connsiteY152" fmla="*/ 328613 h 428625"/>
              <a:gd name="connsiteX153" fmla="*/ 2183035 w 3867150"/>
              <a:gd name="connsiteY153" fmla="*/ 90773 h 428625"/>
              <a:gd name="connsiteX154" fmla="*/ 1924431 w 3867150"/>
              <a:gd name="connsiteY154" fmla="*/ 156305 h 428625"/>
              <a:gd name="connsiteX155" fmla="*/ 1861280 w 3867150"/>
              <a:gd name="connsiteY155" fmla="*/ 87916 h 428625"/>
              <a:gd name="connsiteX156" fmla="*/ 1796129 w 3867150"/>
              <a:gd name="connsiteY156" fmla="*/ 114490 h 428625"/>
              <a:gd name="connsiteX157" fmla="*/ 1800415 w 3867150"/>
              <a:gd name="connsiteY157" fmla="*/ 90773 h 428625"/>
              <a:gd name="connsiteX158" fmla="*/ 1743837 w 3867150"/>
              <a:gd name="connsiteY158" fmla="*/ 90773 h 428625"/>
              <a:gd name="connsiteX159" fmla="*/ 1694402 w 3867150"/>
              <a:gd name="connsiteY159" fmla="*/ 338328 h 428625"/>
              <a:gd name="connsiteX160" fmla="*/ 1753362 w 3867150"/>
              <a:gd name="connsiteY160" fmla="*/ 338328 h 428625"/>
              <a:gd name="connsiteX161" fmla="*/ 1783747 w 3867150"/>
              <a:gd name="connsiteY161" fmla="*/ 188119 h 428625"/>
              <a:gd name="connsiteX162" fmla="*/ 1834134 w 3867150"/>
              <a:gd name="connsiteY162" fmla="*/ 140589 h 428625"/>
              <a:gd name="connsiteX163" fmla="*/ 1863566 w 3867150"/>
              <a:gd name="connsiteY163" fmla="*/ 171450 h 428625"/>
              <a:gd name="connsiteX164" fmla="*/ 1861661 w 3867150"/>
              <a:gd name="connsiteY164" fmla="*/ 187642 h 428625"/>
              <a:gd name="connsiteX165" fmla="*/ 1831277 w 3867150"/>
              <a:gd name="connsiteY165" fmla="*/ 338328 h 428625"/>
              <a:gd name="connsiteX166" fmla="*/ 1890141 w 3867150"/>
              <a:gd name="connsiteY166" fmla="*/ 338328 h 428625"/>
              <a:gd name="connsiteX167" fmla="*/ 1921002 w 3867150"/>
              <a:gd name="connsiteY167" fmla="*/ 183832 h 428625"/>
              <a:gd name="connsiteX168" fmla="*/ 1924431 w 3867150"/>
              <a:gd name="connsiteY168" fmla="*/ 156305 h 428625"/>
              <a:gd name="connsiteX169" fmla="*/ 1702022 w 3867150"/>
              <a:gd name="connsiteY169" fmla="*/ 953 h 428625"/>
              <a:gd name="connsiteX170" fmla="*/ 1641157 w 3867150"/>
              <a:gd name="connsiteY170" fmla="*/ 953 h 428625"/>
              <a:gd name="connsiteX171" fmla="*/ 1631632 w 3867150"/>
              <a:gd name="connsiteY171" fmla="*/ 49816 h 428625"/>
              <a:gd name="connsiteX172" fmla="*/ 1692021 w 3867150"/>
              <a:gd name="connsiteY172" fmla="*/ 49816 h 428625"/>
              <a:gd name="connsiteX173" fmla="*/ 1702022 w 3867150"/>
              <a:gd name="connsiteY173" fmla="*/ 953 h 428625"/>
              <a:gd name="connsiteX174" fmla="*/ 1682115 w 3867150"/>
              <a:gd name="connsiteY174" fmla="*/ 98393 h 428625"/>
              <a:gd name="connsiteX175" fmla="*/ 1623155 w 3867150"/>
              <a:gd name="connsiteY175" fmla="*/ 98393 h 428625"/>
              <a:gd name="connsiteX176" fmla="*/ 1575149 w 3867150"/>
              <a:gd name="connsiteY176" fmla="*/ 338423 h 428625"/>
              <a:gd name="connsiteX177" fmla="*/ 1634109 w 3867150"/>
              <a:gd name="connsiteY177" fmla="*/ 338423 h 428625"/>
              <a:gd name="connsiteX178" fmla="*/ 1682115 w 3867150"/>
              <a:gd name="connsiteY178" fmla="*/ 98393 h 428625"/>
              <a:gd name="connsiteX179" fmla="*/ 1592199 w 3867150"/>
              <a:gd name="connsiteY179" fmla="*/ 111252 h 428625"/>
              <a:gd name="connsiteX180" fmla="*/ 1539431 w 3867150"/>
              <a:gd name="connsiteY180" fmla="*/ 88011 h 428625"/>
              <a:gd name="connsiteX181" fmla="*/ 1476661 w 3867150"/>
              <a:gd name="connsiteY181" fmla="*/ 115062 h 428625"/>
              <a:gd name="connsiteX182" fmla="*/ 1481900 w 3867150"/>
              <a:gd name="connsiteY182" fmla="*/ 90869 h 428625"/>
              <a:gd name="connsiteX183" fmla="*/ 1424845 w 3867150"/>
              <a:gd name="connsiteY183" fmla="*/ 90869 h 428625"/>
              <a:gd name="connsiteX184" fmla="*/ 1375410 w 3867150"/>
              <a:gd name="connsiteY184" fmla="*/ 338423 h 428625"/>
              <a:gd name="connsiteX185" fmla="*/ 1434370 w 3867150"/>
              <a:gd name="connsiteY185" fmla="*/ 338423 h 428625"/>
              <a:gd name="connsiteX186" fmla="*/ 1464278 w 3867150"/>
              <a:gd name="connsiteY186" fmla="*/ 188690 h 428625"/>
              <a:gd name="connsiteX187" fmla="*/ 1514189 w 3867150"/>
              <a:gd name="connsiteY187" fmla="*/ 141161 h 428625"/>
              <a:gd name="connsiteX188" fmla="*/ 1541240 w 3867150"/>
              <a:gd name="connsiteY188" fmla="*/ 156400 h 428625"/>
              <a:gd name="connsiteX189" fmla="*/ 1592199 w 3867150"/>
              <a:gd name="connsiteY189" fmla="*/ 111252 h 428625"/>
              <a:gd name="connsiteX190" fmla="*/ 1298067 w 3867150"/>
              <a:gd name="connsiteY190" fmla="*/ 176308 h 428625"/>
              <a:gd name="connsiteX191" fmla="*/ 1296638 w 3867150"/>
              <a:gd name="connsiteY191" fmla="*/ 192977 h 428625"/>
              <a:gd name="connsiteX192" fmla="*/ 1205770 w 3867150"/>
              <a:gd name="connsiteY192" fmla="*/ 192977 h 428625"/>
              <a:gd name="connsiteX193" fmla="*/ 1262825 w 3867150"/>
              <a:gd name="connsiteY193" fmla="*/ 136303 h 428625"/>
              <a:gd name="connsiteX194" fmla="*/ 1298067 w 3867150"/>
              <a:gd name="connsiteY194" fmla="*/ 176308 h 428625"/>
              <a:gd name="connsiteX195" fmla="*/ 1354074 w 3867150"/>
              <a:gd name="connsiteY195" fmla="*/ 176308 h 428625"/>
              <a:gd name="connsiteX196" fmla="*/ 1266158 w 3867150"/>
              <a:gd name="connsiteY196" fmla="*/ 87916 h 428625"/>
              <a:gd name="connsiteX197" fmla="*/ 1140238 w 3867150"/>
              <a:gd name="connsiteY197" fmla="*/ 254222 h 428625"/>
              <a:gd name="connsiteX198" fmla="*/ 1231964 w 3867150"/>
              <a:gd name="connsiteY198" fmla="*/ 341186 h 428625"/>
              <a:gd name="connsiteX199" fmla="*/ 1328452 w 3867150"/>
              <a:gd name="connsiteY199" fmla="*/ 305086 h 428625"/>
              <a:gd name="connsiteX200" fmla="*/ 1297591 w 3867150"/>
              <a:gd name="connsiteY200" fmla="*/ 266129 h 428625"/>
              <a:gd name="connsiteX201" fmla="*/ 1238631 w 3867150"/>
              <a:gd name="connsiteY201" fmla="*/ 291370 h 428625"/>
              <a:gd name="connsiteX202" fmla="*/ 1196340 w 3867150"/>
              <a:gd name="connsiteY202" fmla="*/ 249936 h 428625"/>
              <a:gd name="connsiteX203" fmla="*/ 1198245 w 3867150"/>
              <a:gd name="connsiteY203" fmla="*/ 232315 h 428625"/>
              <a:gd name="connsiteX204" fmla="*/ 1346549 w 3867150"/>
              <a:gd name="connsiteY204" fmla="*/ 232315 h 428625"/>
              <a:gd name="connsiteX205" fmla="*/ 1354074 w 3867150"/>
              <a:gd name="connsiteY205" fmla="*/ 176308 h 428625"/>
              <a:gd name="connsiteX206" fmla="*/ 1054227 w 3867150"/>
              <a:gd name="connsiteY206" fmla="*/ 176308 h 428625"/>
              <a:gd name="connsiteX207" fmla="*/ 1052798 w 3867150"/>
              <a:gd name="connsiteY207" fmla="*/ 192977 h 428625"/>
              <a:gd name="connsiteX208" fmla="*/ 961930 w 3867150"/>
              <a:gd name="connsiteY208" fmla="*/ 192977 h 428625"/>
              <a:gd name="connsiteX209" fmla="*/ 1018984 w 3867150"/>
              <a:gd name="connsiteY209" fmla="*/ 136303 h 428625"/>
              <a:gd name="connsiteX210" fmla="*/ 1054227 w 3867150"/>
              <a:gd name="connsiteY210" fmla="*/ 176308 h 428625"/>
              <a:gd name="connsiteX211" fmla="*/ 1110234 w 3867150"/>
              <a:gd name="connsiteY211" fmla="*/ 176308 h 428625"/>
              <a:gd name="connsiteX212" fmla="*/ 1022318 w 3867150"/>
              <a:gd name="connsiteY212" fmla="*/ 87916 h 428625"/>
              <a:gd name="connsiteX213" fmla="*/ 896398 w 3867150"/>
              <a:gd name="connsiteY213" fmla="*/ 254222 h 428625"/>
              <a:gd name="connsiteX214" fmla="*/ 988124 w 3867150"/>
              <a:gd name="connsiteY214" fmla="*/ 341186 h 428625"/>
              <a:gd name="connsiteX215" fmla="*/ 1084612 w 3867150"/>
              <a:gd name="connsiteY215" fmla="*/ 305086 h 428625"/>
              <a:gd name="connsiteX216" fmla="*/ 1053751 w 3867150"/>
              <a:gd name="connsiteY216" fmla="*/ 266129 h 428625"/>
              <a:gd name="connsiteX217" fmla="*/ 994791 w 3867150"/>
              <a:gd name="connsiteY217" fmla="*/ 291370 h 428625"/>
              <a:gd name="connsiteX218" fmla="*/ 952500 w 3867150"/>
              <a:gd name="connsiteY218" fmla="*/ 249936 h 428625"/>
              <a:gd name="connsiteX219" fmla="*/ 954405 w 3867150"/>
              <a:gd name="connsiteY219" fmla="*/ 232315 h 428625"/>
              <a:gd name="connsiteX220" fmla="*/ 1102709 w 3867150"/>
              <a:gd name="connsiteY220" fmla="*/ 232315 h 428625"/>
              <a:gd name="connsiteX221" fmla="*/ 1110234 w 3867150"/>
              <a:gd name="connsiteY221" fmla="*/ 176308 h 428625"/>
              <a:gd name="connsiteX222" fmla="*/ 863537 w 3867150"/>
              <a:gd name="connsiteY222" fmla="*/ 156305 h 428625"/>
              <a:gd name="connsiteX223" fmla="*/ 800386 w 3867150"/>
              <a:gd name="connsiteY223" fmla="*/ 87916 h 428625"/>
              <a:gd name="connsiteX224" fmla="*/ 735235 w 3867150"/>
              <a:gd name="connsiteY224" fmla="*/ 114490 h 428625"/>
              <a:gd name="connsiteX225" fmla="*/ 739521 w 3867150"/>
              <a:gd name="connsiteY225" fmla="*/ 90773 h 428625"/>
              <a:gd name="connsiteX226" fmla="*/ 682943 w 3867150"/>
              <a:gd name="connsiteY226" fmla="*/ 90773 h 428625"/>
              <a:gd name="connsiteX227" fmla="*/ 633508 w 3867150"/>
              <a:gd name="connsiteY227" fmla="*/ 338328 h 428625"/>
              <a:gd name="connsiteX228" fmla="*/ 692468 w 3867150"/>
              <a:gd name="connsiteY228" fmla="*/ 338328 h 428625"/>
              <a:gd name="connsiteX229" fmla="*/ 722852 w 3867150"/>
              <a:gd name="connsiteY229" fmla="*/ 188119 h 428625"/>
              <a:gd name="connsiteX230" fmla="*/ 773240 w 3867150"/>
              <a:gd name="connsiteY230" fmla="*/ 140589 h 428625"/>
              <a:gd name="connsiteX231" fmla="*/ 802672 w 3867150"/>
              <a:gd name="connsiteY231" fmla="*/ 171450 h 428625"/>
              <a:gd name="connsiteX232" fmla="*/ 800767 w 3867150"/>
              <a:gd name="connsiteY232" fmla="*/ 187642 h 428625"/>
              <a:gd name="connsiteX233" fmla="*/ 770382 w 3867150"/>
              <a:gd name="connsiteY233" fmla="*/ 338328 h 428625"/>
              <a:gd name="connsiteX234" fmla="*/ 829247 w 3867150"/>
              <a:gd name="connsiteY234" fmla="*/ 338328 h 428625"/>
              <a:gd name="connsiteX235" fmla="*/ 860108 w 3867150"/>
              <a:gd name="connsiteY235" fmla="*/ 183832 h 428625"/>
              <a:gd name="connsiteX236" fmla="*/ 863537 w 3867150"/>
              <a:gd name="connsiteY236" fmla="*/ 156305 h 428625"/>
              <a:gd name="connsiteX237" fmla="*/ 553688 w 3867150"/>
              <a:gd name="connsiteY237" fmla="*/ 176308 h 428625"/>
              <a:gd name="connsiteX238" fmla="*/ 548450 w 3867150"/>
              <a:gd name="connsiteY238" fmla="*/ 214313 h 428625"/>
              <a:gd name="connsiteX239" fmla="*/ 523208 w 3867150"/>
              <a:gd name="connsiteY239" fmla="*/ 276130 h 428625"/>
              <a:gd name="connsiteX240" fmla="*/ 492824 w 3867150"/>
              <a:gd name="connsiteY240" fmla="*/ 288512 h 428625"/>
              <a:gd name="connsiteX241" fmla="*/ 461391 w 3867150"/>
              <a:gd name="connsiteY241" fmla="*/ 252889 h 428625"/>
              <a:gd name="connsiteX242" fmla="*/ 466630 w 3867150"/>
              <a:gd name="connsiteY242" fmla="*/ 214408 h 428625"/>
              <a:gd name="connsiteX243" fmla="*/ 491871 w 3867150"/>
              <a:gd name="connsiteY243" fmla="*/ 153067 h 428625"/>
              <a:gd name="connsiteX244" fmla="*/ 522351 w 3867150"/>
              <a:gd name="connsiteY244" fmla="*/ 140684 h 428625"/>
              <a:gd name="connsiteX245" fmla="*/ 553688 w 3867150"/>
              <a:gd name="connsiteY245" fmla="*/ 176308 h 428625"/>
              <a:gd name="connsiteX246" fmla="*/ 612172 w 3867150"/>
              <a:gd name="connsiteY246" fmla="*/ 169640 h 428625"/>
              <a:gd name="connsiteX247" fmla="*/ 528542 w 3867150"/>
              <a:gd name="connsiteY247" fmla="*/ 87916 h 428625"/>
              <a:gd name="connsiteX248" fmla="*/ 452438 w 3867150"/>
              <a:gd name="connsiteY248" fmla="*/ 116396 h 428625"/>
              <a:gd name="connsiteX249" fmla="*/ 408242 w 3867150"/>
              <a:gd name="connsiteY249" fmla="*/ 214313 h 428625"/>
              <a:gd name="connsiteX250" fmla="*/ 403003 w 3867150"/>
              <a:gd name="connsiteY250" fmla="*/ 259461 h 428625"/>
              <a:gd name="connsiteX251" fmla="*/ 487109 w 3867150"/>
              <a:gd name="connsiteY251" fmla="*/ 341186 h 428625"/>
              <a:gd name="connsiteX252" fmla="*/ 563213 w 3867150"/>
              <a:gd name="connsiteY252" fmla="*/ 312706 h 428625"/>
              <a:gd name="connsiteX253" fmla="*/ 607409 w 3867150"/>
              <a:gd name="connsiteY253" fmla="*/ 214313 h 428625"/>
              <a:gd name="connsiteX254" fmla="*/ 612172 w 3867150"/>
              <a:gd name="connsiteY254" fmla="*/ 169640 h 428625"/>
              <a:gd name="connsiteX255" fmla="*/ 401098 w 3867150"/>
              <a:gd name="connsiteY255" fmla="*/ 953 h 428625"/>
              <a:gd name="connsiteX256" fmla="*/ 340233 w 3867150"/>
              <a:gd name="connsiteY256" fmla="*/ 953 h 428625"/>
              <a:gd name="connsiteX257" fmla="*/ 330708 w 3867150"/>
              <a:gd name="connsiteY257" fmla="*/ 49816 h 428625"/>
              <a:gd name="connsiteX258" fmla="*/ 391096 w 3867150"/>
              <a:gd name="connsiteY258" fmla="*/ 49816 h 428625"/>
              <a:gd name="connsiteX259" fmla="*/ 401098 w 3867150"/>
              <a:gd name="connsiteY259" fmla="*/ 953 h 428625"/>
              <a:gd name="connsiteX260" fmla="*/ 381191 w 3867150"/>
              <a:gd name="connsiteY260" fmla="*/ 98393 h 428625"/>
              <a:gd name="connsiteX261" fmla="*/ 322231 w 3867150"/>
              <a:gd name="connsiteY261" fmla="*/ 98393 h 428625"/>
              <a:gd name="connsiteX262" fmla="*/ 274225 w 3867150"/>
              <a:gd name="connsiteY262" fmla="*/ 338423 h 428625"/>
              <a:gd name="connsiteX263" fmla="*/ 333184 w 3867150"/>
              <a:gd name="connsiteY263" fmla="*/ 338423 h 428625"/>
              <a:gd name="connsiteX264" fmla="*/ 381191 w 3867150"/>
              <a:gd name="connsiteY264" fmla="*/ 98393 h 428625"/>
              <a:gd name="connsiteX265" fmla="*/ 215741 w 3867150"/>
              <a:gd name="connsiteY265" fmla="*/ 94583 h 428625"/>
              <a:gd name="connsiteX266" fmla="*/ 156305 w 3867150"/>
              <a:gd name="connsiteY266" fmla="*/ 151638 h 428625"/>
              <a:gd name="connsiteX267" fmla="*/ 100203 w 3867150"/>
              <a:gd name="connsiteY267" fmla="*/ 151638 h 428625"/>
              <a:gd name="connsiteX268" fmla="*/ 119729 w 3867150"/>
              <a:gd name="connsiteY268" fmla="*/ 55531 h 428625"/>
              <a:gd name="connsiteX269" fmla="*/ 177737 w 3867150"/>
              <a:gd name="connsiteY269" fmla="*/ 55531 h 428625"/>
              <a:gd name="connsiteX270" fmla="*/ 215741 w 3867150"/>
              <a:gd name="connsiteY270" fmla="*/ 94583 h 428625"/>
              <a:gd name="connsiteX271" fmla="*/ 278987 w 3867150"/>
              <a:gd name="connsiteY271" fmla="*/ 89345 h 428625"/>
              <a:gd name="connsiteX272" fmla="*/ 188214 w 3867150"/>
              <a:gd name="connsiteY272" fmla="*/ 0 h 428625"/>
              <a:gd name="connsiteX273" fmla="*/ 68008 w 3867150"/>
              <a:gd name="connsiteY273" fmla="*/ 0 h 428625"/>
              <a:gd name="connsiteX274" fmla="*/ 0 w 3867150"/>
              <a:gd name="connsiteY274" fmla="*/ 338328 h 428625"/>
              <a:gd name="connsiteX275" fmla="*/ 62770 w 3867150"/>
              <a:gd name="connsiteY275" fmla="*/ 338328 h 428625"/>
              <a:gd name="connsiteX276" fmla="*/ 88868 w 3867150"/>
              <a:gd name="connsiteY276" fmla="*/ 207169 h 428625"/>
              <a:gd name="connsiteX277" fmla="*/ 154019 w 3867150"/>
              <a:gd name="connsiteY277" fmla="*/ 207169 h 428625"/>
              <a:gd name="connsiteX278" fmla="*/ 278987 w 3867150"/>
              <a:gd name="connsiteY278" fmla="*/ 8934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3867150" h="428625">
                <a:moveTo>
                  <a:pt x="3869817" y="118300"/>
                </a:moveTo>
                <a:cubicBezTo>
                  <a:pt x="3848481" y="96488"/>
                  <a:pt x="3822764" y="87916"/>
                  <a:pt x="3787617" y="87916"/>
                </a:cubicBezTo>
                <a:cubicBezTo>
                  <a:pt x="3752374" y="87916"/>
                  <a:pt x="3723894" y="97917"/>
                  <a:pt x="3705416" y="116396"/>
                </a:cubicBezTo>
                <a:cubicBezTo>
                  <a:pt x="3688842" y="132969"/>
                  <a:pt x="3680270" y="155353"/>
                  <a:pt x="3680270" y="178213"/>
                </a:cubicBezTo>
                <a:cubicBezTo>
                  <a:pt x="3680270" y="201549"/>
                  <a:pt x="3694462" y="226695"/>
                  <a:pt x="3739610" y="234315"/>
                </a:cubicBezTo>
                <a:lnTo>
                  <a:pt x="3771995" y="239554"/>
                </a:lnTo>
                <a:cubicBezTo>
                  <a:pt x="3786283" y="241935"/>
                  <a:pt x="3795332" y="246697"/>
                  <a:pt x="3795332" y="260032"/>
                </a:cubicBezTo>
                <a:cubicBezTo>
                  <a:pt x="3795332" y="274796"/>
                  <a:pt x="3778663" y="290894"/>
                  <a:pt x="3744944" y="290894"/>
                </a:cubicBezTo>
                <a:cubicBezTo>
                  <a:pt x="3716941" y="290894"/>
                  <a:pt x="3700272" y="281369"/>
                  <a:pt x="3687985" y="267081"/>
                </a:cubicBezTo>
                <a:lnTo>
                  <a:pt x="3645694" y="304133"/>
                </a:lnTo>
                <a:cubicBezTo>
                  <a:pt x="3667601" y="327850"/>
                  <a:pt x="3697034" y="341186"/>
                  <a:pt x="3741135" y="341186"/>
                </a:cubicBezTo>
                <a:cubicBezTo>
                  <a:pt x="3773043" y="341186"/>
                  <a:pt x="3807238" y="333565"/>
                  <a:pt x="3827145" y="314134"/>
                </a:cubicBezTo>
                <a:cubicBezTo>
                  <a:pt x="3843338" y="298513"/>
                  <a:pt x="3853720" y="278987"/>
                  <a:pt x="3853720" y="254222"/>
                </a:cubicBezTo>
                <a:cubicBezTo>
                  <a:pt x="3853720" y="220028"/>
                  <a:pt x="3838004" y="197167"/>
                  <a:pt x="3793903" y="190024"/>
                </a:cubicBezTo>
                <a:lnTo>
                  <a:pt x="3761994" y="184785"/>
                </a:lnTo>
                <a:cubicBezTo>
                  <a:pt x="3746754" y="182404"/>
                  <a:pt x="3739134" y="176689"/>
                  <a:pt x="3739134" y="166211"/>
                </a:cubicBezTo>
                <a:cubicBezTo>
                  <a:pt x="3739134" y="150971"/>
                  <a:pt x="3752469" y="136303"/>
                  <a:pt x="3782377" y="136303"/>
                </a:cubicBezTo>
                <a:cubicBezTo>
                  <a:pt x="3799999" y="136303"/>
                  <a:pt x="3818001" y="142018"/>
                  <a:pt x="3829431" y="153924"/>
                </a:cubicBezTo>
                <a:lnTo>
                  <a:pt x="3869817" y="118300"/>
                </a:lnTo>
                <a:close/>
                <a:moveTo>
                  <a:pt x="3661220" y="122111"/>
                </a:moveTo>
                <a:cubicBezTo>
                  <a:pt x="3646456" y="103156"/>
                  <a:pt x="3624644" y="87916"/>
                  <a:pt x="3588544" y="87916"/>
                </a:cubicBezTo>
                <a:cubicBezTo>
                  <a:pt x="3538157" y="87916"/>
                  <a:pt x="3481197" y="113538"/>
                  <a:pt x="3462623" y="214313"/>
                </a:cubicBezTo>
                <a:cubicBezTo>
                  <a:pt x="3460242" y="227171"/>
                  <a:pt x="3458813" y="240982"/>
                  <a:pt x="3458813" y="252794"/>
                </a:cubicBezTo>
                <a:cubicBezTo>
                  <a:pt x="3458813" y="311277"/>
                  <a:pt x="3500628" y="341186"/>
                  <a:pt x="3547586" y="341186"/>
                </a:cubicBezTo>
                <a:cubicBezTo>
                  <a:pt x="3579400" y="341186"/>
                  <a:pt x="3608451" y="329279"/>
                  <a:pt x="3629311" y="309848"/>
                </a:cubicBezTo>
                <a:lnTo>
                  <a:pt x="3596545" y="267557"/>
                </a:lnTo>
                <a:cubicBezTo>
                  <a:pt x="3582734" y="281369"/>
                  <a:pt x="3569875" y="288512"/>
                  <a:pt x="3553301" y="288512"/>
                </a:cubicBezTo>
                <a:cubicBezTo>
                  <a:pt x="3530441" y="288512"/>
                  <a:pt x="3518154" y="272320"/>
                  <a:pt x="3518154" y="246221"/>
                </a:cubicBezTo>
                <a:cubicBezTo>
                  <a:pt x="3518154" y="234791"/>
                  <a:pt x="3519583" y="225266"/>
                  <a:pt x="3521488" y="214313"/>
                </a:cubicBezTo>
                <a:cubicBezTo>
                  <a:pt x="3525774" y="190976"/>
                  <a:pt x="3534823" y="169640"/>
                  <a:pt x="3547586" y="156305"/>
                </a:cubicBezTo>
                <a:cubicBezTo>
                  <a:pt x="3558064" y="145352"/>
                  <a:pt x="3569970" y="140589"/>
                  <a:pt x="3582734" y="140589"/>
                </a:cubicBezTo>
                <a:cubicBezTo>
                  <a:pt x="3597497" y="140589"/>
                  <a:pt x="3607499" y="148209"/>
                  <a:pt x="3616928" y="161068"/>
                </a:cubicBezTo>
                <a:lnTo>
                  <a:pt x="3661220" y="122111"/>
                </a:lnTo>
                <a:close/>
                <a:moveTo>
                  <a:pt x="3456813" y="953"/>
                </a:moveTo>
                <a:lnTo>
                  <a:pt x="3395948" y="953"/>
                </a:lnTo>
                <a:lnTo>
                  <a:pt x="3386423" y="49816"/>
                </a:lnTo>
                <a:lnTo>
                  <a:pt x="3446812" y="49816"/>
                </a:lnTo>
                <a:lnTo>
                  <a:pt x="3456813" y="953"/>
                </a:lnTo>
                <a:close/>
                <a:moveTo>
                  <a:pt x="3436906" y="98393"/>
                </a:moveTo>
                <a:lnTo>
                  <a:pt x="3377946" y="98393"/>
                </a:lnTo>
                <a:lnTo>
                  <a:pt x="3329940" y="338423"/>
                </a:lnTo>
                <a:lnTo>
                  <a:pt x="3388900" y="338423"/>
                </a:lnTo>
                <a:lnTo>
                  <a:pt x="3436906" y="98393"/>
                </a:lnTo>
                <a:close/>
                <a:moveTo>
                  <a:pt x="3328035" y="98393"/>
                </a:moveTo>
                <a:lnTo>
                  <a:pt x="3287173" y="98393"/>
                </a:lnTo>
                <a:lnTo>
                  <a:pt x="3301937" y="24289"/>
                </a:lnTo>
                <a:lnTo>
                  <a:pt x="3242977" y="24289"/>
                </a:lnTo>
                <a:lnTo>
                  <a:pt x="3228213" y="98393"/>
                </a:lnTo>
                <a:lnTo>
                  <a:pt x="3203067" y="98393"/>
                </a:lnTo>
                <a:lnTo>
                  <a:pt x="3194019" y="142970"/>
                </a:lnTo>
                <a:lnTo>
                  <a:pt x="3219164" y="142970"/>
                </a:lnTo>
                <a:lnTo>
                  <a:pt x="3194971" y="264223"/>
                </a:lnTo>
                <a:cubicBezTo>
                  <a:pt x="3194019" y="269462"/>
                  <a:pt x="3193066" y="276130"/>
                  <a:pt x="3193066" y="284702"/>
                </a:cubicBezTo>
                <a:cubicBezTo>
                  <a:pt x="3193066" y="318421"/>
                  <a:pt x="3218688" y="338328"/>
                  <a:pt x="3252883" y="338328"/>
                </a:cubicBezTo>
                <a:lnTo>
                  <a:pt x="3283268" y="338328"/>
                </a:lnTo>
                <a:lnTo>
                  <a:pt x="3293269" y="288988"/>
                </a:lnTo>
                <a:lnTo>
                  <a:pt x="3271933" y="288988"/>
                </a:lnTo>
                <a:cubicBezTo>
                  <a:pt x="3259074" y="288988"/>
                  <a:pt x="3252883" y="283750"/>
                  <a:pt x="3252883" y="273748"/>
                </a:cubicBezTo>
                <a:cubicBezTo>
                  <a:pt x="3252883" y="271367"/>
                  <a:pt x="3252883" y="269462"/>
                  <a:pt x="3253836" y="264700"/>
                </a:cubicBezTo>
                <a:lnTo>
                  <a:pt x="3278029" y="142970"/>
                </a:lnTo>
                <a:lnTo>
                  <a:pt x="3318891" y="142970"/>
                </a:lnTo>
                <a:lnTo>
                  <a:pt x="3328035" y="98393"/>
                </a:lnTo>
                <a:close/>
                <a:moveTo>
                  <a:pt x="3163062" y="118300"/>
                </a:moveTo>
                <a:cubicBezTo>
                  <a:pt x="3141726" y="96488"/>
                  <a:pt x="3116009" y="87916"/>
                  <a:pt x="3080861" y="87916"/>
                </a:cubicBezTo>
                <a:cubicBezTo>
                  <a:pt x="3045619" y="87916"/>
                  <a:pt x="3017139" y="97917"/>
                  <a:pt x="2998565" y="116396"/>
                </a:cubicBezTo>
                <a:cubicBezTo>
                  <a:pt x="2981992" y="132969"/>
                  <a:pt x="2973420" y="155353"/>
                  <a:pt x="2973420" y="178213"/>
                </a:cubicBezTo>
                <a:cubicBezTo>
                  <a:pt x="2973420" y="201549"/>
                  <a:pt x="2987707" y="226695"/>
                  <a:pt x="3032760" y="234315"/>
                </a:cubicBezTo>
                <a:lnTo>
                  <a:pt x="3065145" y="239554"/>
                </a:lnTo>
                <a:cubicBezTo>
                  <a:pt x="3079433" y="241935"/>
                  <a:pt x="3088481" y="246697"/>
                  <a:pt x="3088481" y="260032"/>
                </a:cubicBezTo>
                <a:cubicBezTo>
                  <a:pt x="3088481" y="274796"/>
                  <a:pt x="3071813" y="290894"/>
                  <a:pt x="3037999" y="290894"/>
                </a:cubicBezTo>
                <a:cubicBezTo>
                  <a:pt x="3009995" y="290894"/>
                  <a:pt x="2993327" y="281369"/>
                  <a:pt x="2981039" y="267081"/>
                </a:cubicBezTo>
                <a:lnTo>
                  <a:pt x="2938748" y="304133"/>
                </a:lnTo>
                <a:cubicBezTo>
                  <a:pt x="2960656" y="327850"/>
                  <a:pt x="2990088" y="341186"/>
                  <a:pt x="3034189" y="341186"/>
                </a:cubicBezTo>
                <a:cubicBezTo>
                  <a:pt x="3066098" y="341186"/>
                  <a:pt x="3100292" y="333565"/>
                  <a:pt x="3120295" y="314134"/>
                </a:cubicBezTo>
                <a:cubicBezTo>
                  <a:pt x="3136392" y="298513"/>
                  <a:pt x="3146870" y="278987"/>
                  <a:pt x="3146870" y="254222"/>
                </a:cubicBezTo>
                <a:cubicBezTo>
                  <a:pt x="3146870" y="220028"/>
                  <a:pt x="3131153" y="197167"/>
                  <a:pt x="3087053" y="190024"/>
                </a:cubicBezTo>
                <a:lnTo>
                  <a:pt x="3055144" y="184785"/>
                </a:lnTo>
                <a:cubicBezTo>
                  <a:pt x="3039904" y="182404"/>
                  <a:pt x="3032284" y="176689"/>
                  <a:pt x="3032284" y="166211"/>
                </a:cubicBezTo>
                <a:cubicBezTo>
                  <a:pt x="3032284" y="150971"/>
                  <a:pt x="3045619" y="136303"/>
                  <a:pt x="3075623" y="136303"/>
                </a:cubicBezTo>
                <a:cubicBezTo>
                  <a:pt x="3093244" y="136303"/>
                  <a:pt x="3111246" y="142018"/>
                  <a:pt x="3122676" y="153924"/>
                </a:cubicBezTo>
                <a:lnTo>
                  <a:pt x="3163062" y="118300"/>
                </a:lnTo>
                <a:close/>
                <a:moveTo>
                  <a:pt x="2858453" y="231934"/>
                </a:moveTo>
                <a:lnTo>
                  <a:pt x="2855595" y="246697"/>
                </a:lnTo>
                <a:cubicBezTo>
                  <a:pt x="2853214" y="259080"/>
                  <a:pt x="2848451" y="270415"/>
                  <a:pt x="2840831" y="278035"/>
                </a:cubicBezTo>
                <a:cubicBezTo>
                  <a:pt x="2831783" y="287083"/>
                  <a:pt x="2818448" y="293275"/>
                  <a:pt x="2802350" y="293275"/>
                </a:cubicBezTo>
                <a:cubicBezTo>
                  <a:pt x="2780919" y="293275"/>
                  <a:pt x="2770918" y="283750"/>
                  <a:pt x="2770918" y="269938"/>
                </a:cubicBezTo>
                <a:cubicBezTo>
                  <a:pt x="2770918" y="248031"/>
                  <a:pt x="2786634" y="231838"/>
                  <a:pt x="2813209" y="231838"/>
                </a:cubicBezTo>
                <a:lnTo>
                  <a:pt x="2858453" y="231838"/>
                </a:lnTo>
                <a:close/>
                <a:moveTo>
                  <a:pt x="2930652" y="156877"/>
                </a:moveTo>
                <a:cubicBezTo>
                  <a:pt x="2930652" y="104108"/>
                  <a:pt x="2884075" y="88011"/>
                  <a:pt x="2842736" y="88011"/>
                </a:cubicBezTo>
                <a:cubicBezTo>
                  <a:pt x="2796636" y="88011"/>
                  <a:pt x="2770918" y="100870"/>
                  <a:pt x="2751011" y="121253"/>
                </a:cubicBezTo>
                <a:lnTo>
                  <a:pt x="2781395" y="160687"/>
                </a:lnTo>
                <a:cubicBezTo>
                  <a:pt x="2793778" y="146875"/>
                  <a:pt x="2810447" y="137350"/>
                  <a:pt x="2834640" y="137350"/>
                </a:cubicBezTo>
                <a:cubicBezTo>
                  <a:pt x="2859405" y="137350"/>
                  <a:pt x="2871311" y="147352"/>
                  <a:pt x="2871311" y="164021"/>
                </a:cubicBezTo>
                <a:cubicBezTo>
                  <a:pt x="2871311" y="168783"/>
                  <a:pt x="2870835" y="172117"/>
                  <a:pt x="2869883" y="176879"/>
                </a:cubicBezTo>
                <a:lnTo>
                  <a:pt x="2866549" y="191643"/>
                </a:lnTo>
                <a:lnTo>
                  <a:pt x="2807589" y="191643"/>
                </a:lnTo>
                <a:cubicBezTo>
                  <a:pt x="2779014" y="191643"/>
                  <a:pt x="2753868" y="199263"/>
                  <a:pt x="2735390" y="217265"/>
                </a:cubicBezTo>
                <a:cubicBezTo>
                  <a:pt x="2721102" y="231457"/>
                  <a:pt x="2713101" y="251460"/>
                  <a:pt x="2713101" y="275749"/>
                </a:cubicBezTo>
                <a:cubicBezTo>
                  <a:pt x="2713101" y="313277"/>
                  <a:pt x="2740628" y="340805"/>
                  <a:pt x="2783872" y="340805"/>
                </a:cubicBezTo>
                <a:cubicBezTo>
                  <a:pt x="2811018" y="340805"/>
                  <a:pt x="2829973" y="330327"/>
                  <a:pt x="2843784" y="316611"/>
                </a:cubicBezTo>
                <a:lnTo>
                  <a:pt x="2839498" y="338423"/>
                </a:lnTo>
                <a:lnTo>
                  <a:pt x="2896076" y="338423"/>
                </a:lnTo>
                <a:lnTo>
                  <a:pt x="2928366" y="178784"/>
                </a:lnTo>
                <a:cubicBezTo>
                  <a:pt x="2929700" y="172021"/>
                  <a:pt x="2930652" y="163544"/>
                  <a:pt x="2930652" y="156877"/>
                </a:cubicBezTo>
                <a:moveTo>
                  <a:pt x="2697766" y="0"/>
                </a:moveTo>
                <a:lnTo>
                  <a:pt x="2638806" y="0"/>
                </a:lnTo>
                <a:lnTo>
                  <a:pt x="2586133" y="264223"/>
                </a:lnTo>
                <a:cubicBezTo>
                  <a:pt x="2584704" y="270891"/>
                  <a:pt x="2584228" y="277082"/>
                  <a:pt x="2584228" y="284702"/>
                </a:cubicBezTo>
                <a:cubicBezTo>
                  <a:pt x="2584228" y="318421"/>
                  <a:pt x="2609374" y="338328"/>
                  <a:pt x="2643569" y="338328"/>
                </a:cubicBezTo>
                <a:lnTo>
                  <a:pt x="2675858" y="338328"/>
                </a:lnTo>
                <a:lnTo>
                  <a:pt x="2685860" y="288512"/>
                </a:lnTo>
                <a:lnTo>
                  <a:pt x="2661666" y="288512"/>
                </a:lnTo>
                <a:cubicBezTo>
                  <a:pt x="2648807" y="288512"/>
                  <a:pt x="2643569" y="283273"/>
                  <a:pt x="2643569" y="274225"/>
                </a:cubicBezTo>
                <a:cubicBezTo>
                  <a:pt x="2643569" y="270415"/>
                  <a:pt x="2644045" y="268033"/>
                  <a:pt x="2644997" y="263747"/>
                </a:cubicBezTo>
                <a:lnTo>
                  <a:pt x="2697766" y="0"/>
                </a:lnTo>
                <a:close/>
                <a:moveTo>
                  <a:pt x="2514791" y="94583"/>
                </a:moveTo>
                <a:cubicBezTo>
                  <a:pt x="2514791" y="120301"/>
                  <a:pt x="2496217" y="151638"/>
                  <a:pt x="2455355" y="151638"/>
                </a:cubicBezTo>
                <a:lnTo>
                  <a:pt x="2399253" y="151638"/>
                </a:lnTo>
                <a:lnTo>
                  <a:pt x="2418779" y="55531"/>
                </a:lnTo>
                <a:lnTo>
                  <a:pt x="2476786" y="55531"/>
                </a:lnTo>
                <a:cubicBezTo>
                  <a:pt x="2504885" y="55531"/>
                  <a:pt x="2514791" y="73152"/>
                  <a:pt x="2514791" y="94583"/>
                </a:cubicBezTo>
                <a:moveTo>
                  <a:pt x="2578037" y="89345"/>
                </a:moveTo>
                <a:cubicBezTo>
                  <a:pt x="2578037" y="36576"/>
                  <a:pt x="2544795" y="0"/>
                  <a:pt x="2487359" y="0"/>
                </a:cubicBezTo>
                <a:lnTo>
                  <a:pt x="2367058" y="0"/>
                </a:lnTo>
                <a:lnTo>
                  <a:pt x="2299049" y="338328"/>
                </a:lnTo>
                <a:lnTo>
                  <a:pt x="2361819" y="338328"/>
                </a:lnTo>
                <a:lnTo>
                  <a:pt x="2387918" y="207169"/>
                </a:lnTo>
                <a:lnTo>
                  <a:pt x="2453069" y="207169"/>
                </a:lnTo>
                <a:cubicBezTo>
                  <a:pt x="2534317" y="207169"/>
                  <a:pt x="2578037" y="149733"/>
                  <a:pt x="2578037" y="89345"/>
                </a:cubicBezTo>
                <a:moveTo>
                  <a:pt x="2105501" y="173546"/>
                </a:moveTo>
                <a:cubicBezTo>
                  <a:pt x="2105501" y="181165"/>
                  <a:pt x="2104073" y="192596"/>
                  <a:pt x="2101215" y="207740"/>
                </a:cubicBezTo>
                <a:cubicBezTo>
                  <a:pt x="2092643" y="252413"/>
                  <a:pt x="2079307" y="275272"/>
                  <a:pt x="2048923" y="275272"/>
                </a:cubicBezTo>
                <a:cubicBezTo>
                  <a:pt x="2027111" y="275272"/>
                  <a:pt x="2019490" y="260985"/>
                  <a:pt x="2019490" y="242506"/>
                </a:cubicBezTo>
                <a:cubicBezTo>
                  <a:pt x="2019490" y="234887"/>
                  <a:pt x="2020919" y="223456"/>
                  <a:pt x="2023777" y="208312"/>
                </a:cubicBezTo>
                <a:cubicBezTo>
                  <a:pt x="2032349" y="163639"/>
                  <a:pt x="2045589" y="140779"/>
                  <a:pt x="2076069" y="140779"/>
                </a:cubicBezTo>
                <a:cubicBezTo>
                  <a:pt x="2096072" y="140684"/>
                  <a:pt x="2105501" y="152971"/>
                  <a:pt x="2105501" y="173546"/>
                </a:cubicBezTo>
                <a:lnTo>
                  <a:pt x="2105501" y="173546"/>
                </a:lnTo>
                <a:close/>
                <a:moveTo>
                  <a:pt x="2183035" y="90773"/>
                </a:moveTo>
                <a:lnTo>
                  <a:pt x="2125980" y="90773"/>
                </a:lnTo>
                <a:lnTo>
                  <a:pt x="2121218" y="115919"/>
                </a:lnTo>
                <a:cubicBezTo>
                  <a:pt x="2109788" y="97346"/>
                  <a:pt x="2090833" y="87821"/>
                  <a:pt x="2065115" y="87821"/>
                </a:cubicBezTo>
                <a:cubicBezTo>
                  <a:pt x="2042827" y="87821"/>
                  <a:pt x="2020443" y="94012"/>
                  <a:pt x="2001964" y="112490"/>
                </a:cubicBezTo>
                <a:cubicBezTo>
                  <a:pt x="1983010" y="131445"/>
                  <a:pt x="1973485" y="160020"/>
                  <a:pt x="1964912" y="207550"/>
                </a:cubicBezTo>
                <a:cubicBezTo>
                  <a:pt x="1961102" y="228505"/>
                  <a:pt x="1958721" y="246031"/>
                  <a:pt x="1958721" y="257937"/>
                </a:cubicBezTo>
                <a:cubicBezTo>
                  <a:pt x="1958721" y="304514"/>
                  <a:pt x="1990535" y="327755"/>
                  <a:pt x="2027111" y="327755"/>
                </a:cubicBezTo>
                <a:cubicBezTo>
                  <a:pt x="2051876" y="327755"/>
                  <a:pt x="2069402" y="318230"/>
                  <a:pt x="2082260" y="303086"/>
                </a:cubicBezTo>
                <a:lnTo>
                  <a:pt x="2077022" y="328231"/>
                </a:lnTo>
                <a:cubicBezTo>
                  <a:pt x="2070354" y="360140"/>
                  <a:pt x="2049494" y="381953"/>
                  <a:pt x="2016633" y="381953"/>
                </a:cubicBezTo>
                <a:cubicBezTo>
                  <a:pt x="1993392" y="381953"/>
                  <a:pt x="1982914" y="370999"/>
                  <a:pt x="1975295" y="362426"/>
                </a:cubicBezTo>
                <a:lnTo>
                  <a:pt x="1934432" y="398050"/>
                </a:lnTo>
                <a:cubicBezTo>
                  <a:pt x="1955387" y="421767"/>
                  <a:pt x="1980533" y="431768"/>
                  <a:pt x="2016633" y="431768"/>
                </a:cubicBezTo>
                <a:cubicBezTo>
                  <a:pt x="2073688" y="431768"/>
                  <a:pt x="2121218" y="400907"/>
                  <a:pt x="2135505" y="328613"/>
                </a:cubicBezTo>
                <a:lnTo>
                  <a:pt x="2183035" y="90773"/>
                </a:lnTo>
                <a:close/>
                <a:moveTo>
                  <a:pt x="1924431" y="156305"/>
                </a:moveTo>
                <a:cubicBezTo>
                  <a:pt x="1924431" y="107347"/>
                  <a:pt x="1890236" y="87916"/>
                  <a:pt x="1861280" y="87916"/>
                </a:cubicBezTo>
                <a:cubicBezTo>
                  <a:pt x="1835563" y="87916"/>
                  <a:pt x="1811846" y="97441"/>
                  <a:pt x="1796129" y="114490"/>
                </a:cubicBezTo>
                <a:lnTo>
                  <a:pt x="1800415" y="90773"/>
                </a:lnTo>
                <a:lnTo>
                  <a:pt x="1743837" y="90773"/>
                </a:lnTo>
                <a:lnTo>
                  <a:pt x="1694402" y="338328"/>
                </a:lnTo>
                <a:lnTo>
                  <a:pt x="1753362" y="338328"/>
                </a:lnTo>
                <a:lnTo>
                  <a:pt x="1783747" y="188119"/>
                </a:lnTo>
                <a:cubicBezTo>
                  <a:pt x="1791367" y="149066"/>
                  <a:pt x="1816989" y="140589"/>
                  <a:pt x="1834134" y="140589"/>
                </a:cubicBezTo>
                <a:cubicBezTo>
                  <a:pt x="1849374" y="140589"/>
                  <a:pt x="1863566" y="150114"/>
                  <a:pt x="1863566" y="171450"/>
                </a:cubicBezTo>
                <a:cubicBezTo>
                  <a:pt x="1863566" y="176213"/>
                  <a:pt x="1862614" y="181928"/>
                  <a:pt x="1861661" y="187642"/>
                </a:cubicBezTo>
                <a:lnTo>
                  <a:pt x="1831277" y="338328"/>
                </a:lnTo>
                <a:lnTo>
                  <a:pt x="1890141" y="338328"/>
                </a:lnTo>
                <a:lnTo>
                  <a:pt x="1921002" y="183832"/>
                </a:lnTo>
                <a:cubicBezTo>
                  <a:pt x="1923002" y="175831"/>
                  <a:pt x="1924431" y="165354"/>
                  <a:pt x="1924431" y="156305"/>
                </a:cubicBezTo>
                <a:moveTo>
                  <a:pt x="1702022" y="953"/>
                </a:moveTo>
                <a:lnTo>
                  <a:pt x="1641157" y="953"/>
                </a:lnTo>
                <a:lnTo>
                  <a:pt x="1631632" y="49816"/>
                </a:lnTo>
                <a:lnTo>
                  <a:pt x="1692021" y="49816"/>
                </a:lnTo>
                <a:lnTo>
                  <a:pt x="1702022" y="953"/>
                </a:lnTo>
                <a:close/>
                <a:moveTo>
                  <a:pt x="1682115" y="98393"/>
                </a:moveTo>
                <a:lnTo>
                  <a:pt x="1623155" y="98393"/>
                </a:lnTo>
                <a:lnTo>
                  <a:pt x="1575149" y="338423"/>
                </a:lnTo>
                <a:lnTo>
                  <a:pt x="1634109" y="338423"/>
                </a:lnTo>
                <a:lnTo>
                  <a:pt x="1682115" y="98393"/>
                </a:lnTo>
                <a:close/>
                <a:moveTo>
                  <a:pt x="1592199" y="111252"/>
                </a:moveTo>
                <a:cubicBezTo>
                  <a:pt x="1578864" y="95536"/>
                  <a:pt x="1563243" y="88011"/>
                  <a:pt x="1539431" y="88011"/>
                </a:cubicBezTo>
                <a:cubicBezTo>
                  <a:pt x="1513713" y="88011"/>
                  <a:pt x="1490472" y="98488"/>
                  <a:pt x="1476661" y="115062"/>
                </a:cubicBezTo>
                <a:lnTo>
                  <a:pt x="1481900" y="90869"/>
                </a:lnTo>
                <a:lnTo>
                  <a:pt x="1424845" y="90869"/>
                </a:lnTo>
                <a:lnTo>
                  <a:pt x="1375410" y="338423"/>
                </a:lnTo>
                <a:lnTo>
                  <a:pt x="1434370" y="338423"/>
                </a:lnTo>
                <a:lnTo>
                  <a:pt x="1464278" y="188690"/>
                </a:lnTo>
                <a:cubicBezTo>
                  <a:pt x="1469993" y="160115"/>
                  <a:pt x="1490853" y="141161"/>
                  <a:pt x="1514189" y="141161"/>
                </a:cubicBezTo>
                <a:cubicBezTo>
                  <a:pt x="1527048" y="141161"/>
                  <a:pt x="1535144" y="148304"/>
                  <a:pt x="1541240" y="156400"/>
                </a:cubicBezTo>
                <a:lnTo>
                  <a:pt x="1592199" y="111252"/>
                </a:lnTo>
                <a:close/>
                <a:moveTo>
                  <a:pt x="1298067" y="176308"/>
                </a:moveTo>
                <a:cubicBezTo>
                  <a:pt x="1298067" y="181546"/>
                  <a:pt x="1297591" y="187738"/>
                  <a:pt x="1296638" y="192977"/>
                </a:cubicBezTo>
                <a:lnTo>
                  <a:pt x="1205770" y="192977"/>
                </a:lnTo>
                <a:cubicBezTo>
                  <a:pt x="1216724" y="152495"/>
                  <a:pt x="1237679" y="136303"/>
                  <a:pt x="1262825" y="136303"/>
                </a:cubicBezTo>
                <a:cubicBezTo>
                  <a:pt x="1283780" y="136398"/>
                  <a:pt x="1298067" y="150209"/>
                  <a:pt x="1298067" y="176308"/>
                </a:cubicBezTo>
                <a:moveTo>
                  <a:pt x="1354074" y="176308"/>
                </a:moveTo>
                <a:cubicBezTo>
                  <a:pt x="1354074" y="122587"/>
                  <a:pt x="1318451" y="87916"/>
                  <a:pt x="1266158" y="87916"/>
                </a:cubicBezTo>
                <a:cubicBezTo>
                  <a:pt x="1180529" y="87916"/>
                  <a:pt x="1140238" y="171069"/>
                  <a:pt x="1140238" y="254222"/>
                </a:cubicBezTo>
                <a:cubicBezTo>
                  <a:pt x="1140238" y="319373"/>
                  <a:pt x="1189101" y="341186"/>
                  <a:pt x="1231964" y="341186"/>
                </a:cubicBezTo>
                <a:cubicBezTo>
                  <a:pt x="1269111" y="341186"/>
                  <a:pt x="1302830" y="328803"/>
                  <a:pt x="1328452" y="305086"/>
                </a:cubicBezTo>
                <a:lnTo>
                  <a:pt x="1297591" y="266129"/>
                </a:lnTo>
                <a:cubicBezTo>
                  <a:pt x="1280446" y="282797"/>
                  <a:pt x="1262348" y="291370"/>
                  <a:pt x="1238631" y="291370"/>
                </a:cubicBezTo>
                <a:cubicBezTo>
                  <a:pt x="1210056" y="291370"/>
                  <a:pt x="1196340" y="274225"/>
                  <a:pt x="1196340" y="249936"/>
                </a:cubicBezTo>
                <a:cubicBezTo>
                  <a:pt x="1196340" y="244221"/>
                  <a:pt x="1197293" y="238030"/>
                  <a:pt x="1198245" y="232315"/>
                </a:cubicBezTo>
                <a:lnTo>
                  <a:pt x="1346549" y="232315"/>
                </a:lnTo>
                <a:cubicBezTo>
                  <a:pt x="1350740" y="213360"/>
                  <a:pt x="1354074" y="192977"/>
                  <a:pt x="1354074" y="176308"/>
                </a:cubicBezTo>
                <a:moveTo>
                  <a:pt x="1054227" y="176308"/>
                </a:moveTo>
                <a:cubicBezTo>
                  <a:pt x="1054227" y="181546"/>
                  <a:pt x="1053751" y="187738"/>
                  <a:pt x="1052798" y="192977"/>
                </a:cubicBezTo>
                <a:lnTo>
                  <a:pt x="961930" y="192977"/>
                </a:lnTo>
                <a:cubicBezTo>
                  <a:pt x="972884" y="152495"/>
                  <a:pt x="993838" y="136303"/>
                  <a:pt x="1018984" y="136303"/>
                </a:cubicBezTo>
                <a:cubicBezTo>
                  <a:pt x="1039940" y="136398"/>
                  <a:pt x="1054227" y="150209"/>
                  <a:pt x="1054227" y="176308"/>
                </a:cubicBezTo>
                <a:moveTo>
                  <a:pt x="1110234" y="176308"/>
                </a:moveTo>
                <a:cubicBezTo>
                  <a:pt x="1110234" y="122587"/>
                  <a:pt x="1074611" y="87916"/>
                  <a:pt x="1022318" y="87916"/>
                </a:cubicBezTo>
                <a:cubicBezTo>
                  <a:pt x="936688" y="87916"/>
                  <a:pt x="896398" y="171069"/>
                  <a:pt x="896398" y="254222"/>
                </a:cubicBezTo>
                <a:cubicBezTo>
                  <a:pt x="896398" y="319373"/>
                  <a:pt x="945261" y="341186"/>
                  <a:pt x="988124" y="341186"/>
                </a:cubicBezTo>
                <a:cubicBezTo>
                  <a:pt x="1025176" y="341186"/>
                  <a:pt x="1058990" y="328803"/>
                  <a:pt x="1084612" y="305086"/>
                </a:cubicBezTo>
                <a:lnTo>
                  <a:pt x="1053751" y="266129"/>
                </a:lnTo>
                <a:cubicBezTo>
                  <a:pt x="1036606" y="282797"/>
                  <a:pt x="1018604" y="291370"/>
                  <a:pt x="994791" y="291370"/>
                </a:cubicBezTo>
                <a:cubicBezTo>
                  <a:pt x="966216" y="291370"/>
                  <a:pt x="952500" y="274225"/>
                  <a:pt x="952500" y="249936"/>
                </a:cubicBezTo>
                <a:cubicBezTo>
                  <a:pt x="952500" y="244221"/>
                  <a:pt x="953453" y="238030"/>
                  <a:pt x="954405" y="232315"/>
                </a:cubicBezTo>
                <a:lnTo>
                  <a:pt x="1102709" y="232315"/>
                </a:lnTo>
                <a:cubicBezTo>
                  <a:pt x="1106900" y="213360"/>
                  <a:pt x="1110234" y="192977"/>
                  <a:pt x="1110234" y="176308"/>
                </a:cubicBezTo>
                <a:moveTo>
                  <a:pt x="863537" y="156305"/>
                </a:moveTo>
                <a:cubicBezTo>
                  <a:pt x="863537" y="107347"/>
                  <a:pt x="829342" y="87916"/>
                  <a:pt x="800386" y="87916"/>
                </a:cubicBezTo>
                <a:cubicBezTo>
                  <a:pt x="774763" y="87916"/>
                  <a:pt x="750951" y="97441"/>
                  <a:pt x="735235" y="114490"/>
                </a:cubicBezTo>
                <a:lnTo>
                  <a:pt x="739521" y="90773"/>
                </a:lnTo>
                <a:lnTo>
                  <a:pt x="682943" y="90773"/>
                </a:lnTo>
                <a:lnTo>
                  <a:pt x="633508" y="338328"/>
                </a:lnTo>
                <a:lnTo>
                  <a:pt x="692468" y="338328"/>
                </a:lnTo>
                <a:lnTo>
                  <a:pt x="722852" y="188119"/>
                </a:lnTo>
                <a:cubicBezTo>
                  <a:pt x="730472" y="149066"/>
                  <a:pt x="756095" y="140589"/>
                  <a:pt x="773240" y="140589"/>
                </a:cubicBezTo>
                <a:cubicBezTo>
                  <a:pt x="788480" y="140589"/>
                  <a:pt x="802672" y="150114"/>
                  <a:pt x="802672" y="171450"/>
                </a:cubicBezTo>
                <a:cubicBezTo>
                  <a:pt x="802672" y="176213"/>
                  <a:pt x="801719" y="181928"/>
                  <a:pt x="800767" y="187642"/>
                </a:cubicBezTo>
                <a:lnTo>
                  <a:pt x="770382" y="338328"/>
                </a:lnTo>
                <a:lnTo>
                  <a:pt x="829247" y="338328"/>
                </a:lnTo>
                <a:lnTo>
                  <a:pt x="860108" y="183832"/>
                </a:lnTo>
                <a:cubicBezTo>
                  <a:pt x="862108" y="175831"/>
                  <a:pt x="863537" y="165354"/>
                  <a:pt x="863537" y="156305"/>
                </a:cubicBezTo>
                <a:moveTo>
                  <a:pt x="553688" y="176308"/>
                </a:moveTo>
                <a:cubicBezTo>
                  <a:pt x="553688" y="181546"/>
                  <a:pt x="552736" y="193453"/>
                  <a:pt x="548450" y="214313"/>
                </a:cubicBezTo>
                <a:cubicBezTo>
                  <a:pt x="542734" y="245269"/>
                  <a:pt x="535115" y="264700"/>
                  <a:pt x="523208" y="276130"/>
                </a:cubicBezTo>
                <a:cubicBezTo>
                  <a:pt x="515588" y="283750"/>
                  <a:pt x="505111" y="288512"/>
                  <a:pt x="492824" y="288512"/>
                </a:cubicBezTo>
                <a:cubicBezTo>
                  <a:pt x="474250" y="288512"/>
                  <a:pt x="461391" y="276606"/>
                  <a:pt x="461391" y="252889"/>
                </a:cubicBezTo>
                <a:cubicBezTo>
                  <a:pt x="461391" y="247174"/>
                  <a:pt x="462344" y="235744"/>
                  <a:pt x="466630" y="214408"/>
                </a:cubicBezTo>
                <a:cubicBezTo>
                  <a:pt x="472821" y="184023"/>
                  <a:pt x="479965" y="164497"/>
                  <a:pt x="491871" y="153067"/>
                </a:cubicBezTo>
                <a:cubicBezTo>
                  <a:pt x="499491" y="145447"/>
                  <a:pt x="510445" y="140684"/>
                  <a:pt x="522351" y="140684"/>
                </a:cubicBezTo>
                <a:cubicBezTo>
                  <a:pt x="540925" y="140684"/>
                  <a:pt x="553688" y="152019"/>
                  <a:pt x="553688" y="176308"/>
                </a:cubicBezTo>
                <a:moveTo>
                  <a:pt x="612172" y="169640"/>
                </a:moveTo>
                <a:cubicBezTo>
                  <a:pt x="612172" y="112586"/>
                  <a:pt x="569881" y="87916"/>
                  <a:pt x="528542" y="87916"/>
                </a:cubicBezTo>
                <a:cubicBezTo>
                  <a:pt x="497110" y="87916"/>
                  <a:pt x="471011" y="98393"/>
                  <a:pt x="452438" y="116396"/>
                </a:cubicBezTo>
                <a:cubicBezTo>
                  <a:pt x="430625" y="137255"/>
                  <a:pt x="418719" y="162496"/>
                  <a:pt x="408242" y="214313"/>
                </a:cubicBezTo>
                <a:cubicBezTo>
                  <a:pt x="405860" y="225742"/>
                  <a:pt x="403003" y="244316"/>
                  <a:pt x="403003" y="259461"/>
                </a:cubicBezTo>
                <a:cubicBezTo>
                  <a:pt x="403003" y="316516"/>
                  <a:pt x="445294" y="341186"/>
                  <a:pt x="487109" y="341186"/>
                </a:cubicBezTo>
                <a:cubicBezTo>
                  <a:pt x="518541" y="341186"/>
                  <a:pt x="544163" y="330708"/>
                  <a:pt x="563213" y="312706"/>
                </a:cubicBezTo>
                <a:cubicBezTo>
                  <a:pt x="584549" y="291846"/>
                  <a:pt x="596932" y="266605"/>
                  <a:pt x="607409" y="214313"/>
                </a:cubicBezTo>
                <a:cubicBezTo>
                  <a:pt x="609314" y="203454"/>
                  <a:pt x="612172" y="184880"/>
                  <a:pt x="612172" y="169640"/>
                </a:cubicBezTo>
                <a:moveTo>
                  <a:pt x="401098" y="953"/>
                </a:moveTo>
                <a:lnTo>
                  <a:pt x="340233" y="953"/>
                </a:lnTo>
                <a:lnTo>
                  <a:pt x="330708" y="49816"/>
                </a:lnTo>
                <a:lnTo>
                  <a:pt x="391096" y="49816"/>
                </a:lnTo>
                <a:lnTo>
                  <a:pt x="401098" y="953"/>
                </a:lnTo>
                <a:close/>
                <a:moveTo>
                  <a:pt x="381191" y="98393"/>
                </a:moveTo>
                <a:lnTo>
                  <a:pt x="322231" y="98393"/>
                </a:lnTo>
                <a:lnTo>
                  <a:pt x="274225" y="338423"/>
                </a:lnTo>
                <a:lnTo>
                  <a:pt x="333184" y="338423"/>
                </a:lnTo>
                <a:lnTo>
                  <a:pt x="381191" y="98393"/>
                </a:lnTo>
                <a:close/>
                <a:moveTo>
                  <a:pt x="215741" y="94583"/>
                </a:moveTo>
                <a:cubicBezTo>
                  <a:pt x="215741" y="120301"/>
                  <a:pt x="197167" y="151638"/>
                  <a:pt x="156305" y="151638"/>
                </a:cubicBezTo>
                <a:lnTo>
                  <a:pt x="100203" y="151638"/>
                </a:lnTo>
                <a:lnTo>
                  <a:pt x="119729" y="55531"/>
                </a:lnTo>
                <a:lnTo>
                  <a:pt x="177737" y="55531"/>
                </a:lnTo>
                <a:cubicBezTo>
                  <a:pt x="205835" y="55531"/>
                  <a:pt x="215741" y="73152"/>
                  <a:pt x="215741" y="94583"/>
                </a:cubicBezTo>
                <a:moveTo>
                  <a:pt x="278987" y="89345"/>
                </a:moveTo>
                <a:cubicBezTo>
                  <a:pt x="278987" y="36576"/>
                  <a:pt x="245745" y="0"/>
                  <a:pt x="188214" y="0"/>
                </a:cubicBezTo>
                <a:lnTo>
                  <a:pt x="68008" y="0"/>
                </a:lnTo>
                <a:lnTo>
                  <a:pt x="0" y="338328"/>
                </a:lnTo>
                <a:lnTo>
                  <a:pt x="62770" y="338328"/>
                </a:lnTo>
                <a:lnTo>
                  <a:pt x="88868" y="207169"/>
                </a:lnTo>
                <a:lnTo>
                  <a:pt x="154019" y="207169"/>
                </a:lnTo>
                <a:cubicBezTo>
                  <a:pt x="235267" y="207169"/>
                  <a:pt x="278987" y="149733"/>
                  <a:pt x="278987" y="89345"/>
                </a:cubicBezTo>
              </a:path>
            </a:pathLst>
          </a:custGeom>
          <a:solidFill>
            <a:srgbClr val="FF83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oliennummernplatzhalter 3">
            <a:extLst>
              <a:ext uri="{FF2B5EF4-FFF2-40B4-BE49-F238E27FC236}">
                <a16:creationId xmlns:a16="http://schemas.microsoft.com/office/drawing/2014/main" id="{46689E8E-9B7C-42F8-A91C-96BC6870D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BD131E4-FD29-4177-8495-0FABB0BC84E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3950" y="1557338"/>
            <a:ext cx="5364163" cy="3167062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BFDF98EE-A866-400B-8897-6EA162D9B9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90964" y="6077375"/>
            <a:ext cx="7677146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6493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7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Graphic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1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7" y="476250"/>
            <a:ext cx="5580064" cy="30469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820865"/>
            <a:ext cx="5580064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10944222" cy="316706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Foliennummernplatzhalter 3">
            <a:extLst>
              <a:ext uri="{FF2B5EF4-FFF2-40B4-BE49-F238E27FC236}">
                <a16:creationId xmlns:a16="http://schemas.microsoft.com/office/drawing/2014/main" id="{46689E8E-9B7C-42F8-A91C-96BC6870D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7EFBAA7-8D5B-4800-B083-2C499249461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6077375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5DE5EBEF-F048-4CAB-AD35-8409490812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89091" y="0"/>
            <a:ext cx="4802909" cy="1446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747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7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A1B0686-7F3E-4282-8088-A02D7E626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1341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528D81-E54E-4B06-9D3A-CC1C83CD28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1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B5A4979-EAA9-204F-8D1D-26260CD06C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268" y="2281643"/>
            <a:ext cx="7233096" cy="1218795"/>
          </a:xfrm>
        </p:spPr>
        <p:txBody>
          <a:bodyPr lIns="0" tIns="0" rIns="0" bIns="0" anchor="b"/>
          <a:lstStyle>
            <a:lvl1pPr algn="l">
              <a:defRPr sz="4400" b="1" i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err="1"/>
              <a:t>TitLE</a:t>
            </a:r>
            <a:r>
              <a:rPr lang="en-US" dirty="0"/>
              <a:t>, Arial, </a:t>
            </a:r>
            <a:br>
              <a:rPr lang="en-US" dirty="0"/>
            </a:br>
            <a:r>
              <a:rPr lang="en-US" dirty="0"/>
              <a:t>44 </a:t>
            </a:r>
            <a:r>
              <a:rPr lang="en-US" dirty="0" err="1"/>
              <a:t>pt</a:t>
            </a:r>
            <a:r>
              <a:rPr lang="en-US" dirty="0"/>
              <a:t>, BOLD, italic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9A28CC2-AB54-8049-AA13-7EF80A6E2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6268" y="4062586"/>
            <a:ext cx="7233096" cy="307777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of the presentation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22FC953-9B25-4A37-9BD5-6367FCB96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4463177"/>
            <a:ext cx="7232650" cy="246221"/>
          </a:xfrm>
        </p:spPr>
        <p:txBody>
          <a:bodyPr anchor="t">
            <a:spAutoFit/>
          </a:bodyPr>
          <a:lstStyle>
            <a:lvl1pPr>
              <a:defRPr sz="1600"/>
            </a:lvl1pPr>
          </a:lstStyle>
          <a:p>
            <a:pPr lvl="0"/>
            <a:r>
              <a:rPr lang="en-US" dirty="0"/>
              <a:t>Author | Date, Arial, 16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0B633F54-52A3-4C90-9BB3-63D879E586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8182" t="25095" r="22336" b="24792"/>
          <a:stretch/>
        </p:blipFill>
        <p:spPr>
          <a:xfrm>
            <a:off x="8505515" y="368300"/>
            <a:ext cx="3686485" cy="3098800"/>
          </a:xfrm>
          <a:prstGeom prst="rect">
            <a:avLst/>
          </a:prstGeom>
        </p:spPr>
      </p:pic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DE7DC057-1B1C-449E-A6BB-8D3D613AD12E}"/>
              </a:ext>
            </a:extLst>
          </p:cNvPr>
          <p:cNvGrpSpPr/>
          <p:nvPr userDrawn="1"/>
        </p:nvGrpSpPr>
        <p:grpSpPr>
          <a:xfrm>
            <a:off x="9237264" y="1690722"/>
            <a:ext cx="2576929" cy="677457"/>
            <a:chOff x="9237264" y="1690722"/>
            <a:chExt cx="2576929" cy="677457"/>
          </a:xfrm>
        </p:grpSpPr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4D735CAB-8CE1-4495-A63C-C1649FE54764}"/>
                </a:ext>
              </a:extLst>
            </p:cNvPr>
            <p:cNvSpPr/>
            <p:nvPr/>
          </p:nvSpPr>
          <p:spPr>
            <a:xfrm>
              <a:off x="10167480" y="2197076"/>
              <a:ext cx="1543732" cy="171103"/>
            </a:xfrm>
            <a:custGeom>
              <a:avLst/>
              <a:gdLst>
                <a:gd name="connsiteX0" fmla="*/ 3869817 w 3867150"/>
                <a:gd name="connsiteY0" fmla="*/ 118300 h 428625"/>
                <a:gd name="connsiteX1" fmla="*/ 3787617 w 3867150"/>
                <a:gd name="connsiteY1" fmla="*/ 87916 h 428625"/>
                <a:gd name="connsiteX2" fmla="*/ 3705416 w 3867150"/>
                <a:gd name="connsiteY2" fmla="*/ 116396 h 428625"/>
                <a:gd name="connsiteX3" fmla="*/ 3680270 w 3867150"/>
                <a:gd name="connsiteY3" fmla="*/ 178213 h 428625"/>
                <a:gd name="connsiteX4" fmla="*/ 3739610 w 3867150"/>
                <a:gd name="connsiteY4" fmla="*/ 234315 h 428625"/>
                <a:gd name="connsiteX5" fmla="*/ 3771995 w 3867150"/>
                <a:gd name="connsiteY5" fmla="*/ 239554 h 428625"/>
                <a:gd name="connsiteX6" fmla="*/ 3795332 w 3867150"/>
                <a:gd name="connsiteY6" fmla="*/ 260032 h 428625"/>
                <a:gd name="connsiteX7" fmla="*/ 3744944 w 3867150"/>
                <a:gd name="connsiteY7" fmla="*/ 290894 h 428625"/>
                <a:gd name="connsiteX8" fmla="*/ 3687985 w 3867150"/>
                <a:gd name="connsiteY8" fmla="*/ 267081 h 428625"/>
                <a:gd name="connsiteX9" fmla="*/ 3645694 w 3867150"/>
                <a:gd name="connsiteY9" fmla="*/ 304133 h 428625"/>
                <a:gd name="connsiteX10" fmla="*/ 3741135 w 3867150"/>
                <a:gd name="connsiteY10" fmla="*/ 341186 h 428625"/>
                <a:gd name="connsiteX11" fmla="*/ 3827145 w 3867150"/>
                <a:gd name="connsiteY11" fmla="*/ 314134 h 428625"/>
                <a:gd name="connsiteX12" fmla="*/ 3853720 w 3867150"/>
                <a:gd name="connsiteY12" fmla="*/ 254222 h 428625"/>
                <a:gd name="connsiteX13" fmla="*/ 3793903 w 3867150"/>
                <a:gd name="connsiteY13" fmla="*/ 190024 h 428625"/>
                <a:gd name="connsiteX14" fmla="*/ 3761994 w 3867150"/>
                <a:gd name="connsiteY14" fmla="*/ 184785 h 428625"/>
                <a:gd name="connsiteX15" fmla="*/ 3739134 w 3867150"/>
                <a:gd name="connsiteY15" fmla="*/ 166211 h 428625"/>
                <a:gd name="connsiteX16" fmla="*/ 3782377 w 3867150"/>
                <a:gd name="connsiteY16" fmla="*/ 136303 h 428625"/>
                <a:gd name="connsiteX17" fmla="*/ 3829431 w 3867150"/>
                <a:gd name="connsiteY17" fmla="*/ 153924 h 428625"/>
                <a:gd name="connsiteX18" fmla="*/ 3869817 w 3867150"/>
                <a:gd name="connsiteY18" fmla="*/ 118300 h 428625"/>
                <a:gd name="connsiteX19" fmla="*/ 3661220 w 3867150"/>
                <a:gd name="connsiteY19" fmla="*/ 122111 h 428625"/>
                <a:gd name="connsiteX20" fmla="*/ 3588544 w 3867150"/>
                <a:gd name="connsiteY20" fmla="*/ 87916 h 428625"/>
                <a:gd name="connsiteX21" fmla="*/ 3462623 w 3867150"/>
                <a:gd name="connsiteY21" fmla="*/ 214313 h 428625"/>
                <a:gd name="connsiteX22" fmla="*/ 3458813 w 3867150"/>
                <a:gd name="connsiteY22" fmla="*/ 252794 h 428625"/>
                <a:gd name="connsiteX23" fmla="*/ 3547586 w 3867150"/>
                <a:gd name="connsiteY23" fmla="*/ 341186 h 428625"/>
                <a:gd name="connsiteX24" fmla="*/ 3629311 w 3867150"/>
                <a:gd name="connsiteY24" fmla="*/ 309848 h 428625"/>
                <a:gd name="connsiteX25" fmla="*/ 3596545 w 3867150"/>
                <a:gd name="connsiteY25" fmla="*/ 267557 h 428625"/>
                <a:gd name="connsiteX26" fmla="*/ 3553301 w 3867150"/>
                <a:gd name="connsiteY26" fmla="*/ 288512 h 428625"/>
                <a:gd name="connsiteX27" fmla="*/ 3518154 w 3867150"/>
                <a:gd name="connsiteY27" fmla="*/ 246221 h 428625"/>
                <a:gd name="connsiteX28" fmla="*/ 3521488 w 3867150"/>
                <a:gd name="connsiteY28" fmla="*/ 214313 h 428625"/>
                <a:gd name="connsiteX29" fmla="*/ 3547586 w 3867150"/>
                <a:gd name="connsiteY29" fmla="*/ 156305 h 428625"/>
                <a:gd name="connsiteX30" fmla="*/ 3582734 w 3867150"/>
                <a:gd name="connsiteY30" fmla="*/ 140589 h 428625"/>
                <a:gd name="connsiteX31" fmla="*/ 3616928 w 3867150"/>
                <a:gd name="connsiteY31" fmla="*/ 161068 h 428625"/>
                <a:gd name="connsiteX32" fmla="*/ 3661220 w 3867150"/>
                <a:gd name="connsiteY32" fmla="*/ 122111 h 428625"/>
                <a:gd name="connsiteX33" fmla="*/ 3456813 w 3867150"/>
                <a:gd name="connsiteY33" fmla="*/ 953 h 428625"/>
                <a:gd name="connsiteX34" fmla="*/ 3395948 w 3867150"/>
                <a:gd name="connsiteY34" fmla="*/ 953 h 428625"/>
                <a:gd name="connsiteX35" fmla="*/ 3386423 w 3867150"/>
                <a:gd name="connsiteY35" fmla="*/ 49816 h 428625"/>
                <a:gd name="connsiteX36" fmla="*/ 3446812 w 3867150"/>
                <a:gd name="connsiteY36" fmla="*/ 49816 h 428625"/>
                <a:gd name="connsiteX37" fmla="*/ 3456813 w 3867150"/>
                <a:gd name="connsiteY37" fmla="*/ 953 h 428625"/>
                <a:gd name="connsiteX38" fmla="*/ 3436906 w 3867150"/>
                <a:gd name="connsiteY38" fmla="*/ 98393 h 428625"/>
                <a:gd name="connsiteX39" fmla="*/ 3377946 w 3867150"/>
                <a:gd name="connsiteY39" fmla="*/ 98393 h 428625"/>
                <a:gd name="connsiteX40" fmla="*/ 3329940 w 3867150"/>
                <a:gd name="connsiteY40" fmla="*/ 338423 h 428625"/>
                <a:gd name="connsiteX41" fmla="*/ 3388900 w 3867150"/>
                <a:gd name="connsiteY41" fmla="*/ 338423 h 428625"/>
                <a:gd name="connsiteX42" fmla="*/ 3436906 w 3867150"/>
                <a:gd name="connsiteY42" fmla="*/ 98393 h 428625"/>
                <a:gd name="connsiteX43" fmla="*/ 3328035 w 3867150"/>
                <a:gd name="connsiteY43" fmla="*/ 98393 h 428625"/>
                <a:gd name="connsiteX44" fmla="*/ 3287173 w 3867150"/>
                <a:gd name="connsiteY44" fmla="*/ 98393 h 428625"/>
                <a:gd name="connsiteX45" fmla="*/ 3301937 w 3867150"/>
                <a:gd name="connsiteY45" fmla="*/ 24289 h 428625"/>
                <a:gd name="connsiteX46" fmla="*/ 3242977 w 3867150"/>
                <a:gd name="connsiteY46" fmla="*/ 24289 h 428625"/>
                <a:gd name="connsiteX47" fmla="*/ 3228213 w 3867150"/>
                <a:gd name="connsiteY47" fmla="*/ 98393 h 428625"/>
                <a:gd name="connsiteX48" fmla="*/ 3203067 w 3867150"/>
                <a:gd name="connsiteY48" fmla="*/ 98393 h 428625"/>
                <a:gd name="connsiteX49" fmla="*/ 3194019 w 3867150"/>
                <a:gd name="connsiteY49" fmla="*/ 142970 h 428625"/>
                <a:gd name="connsiteX50" fmla="*/ 3219164 w 3867150"/>
                <a:gd name="connsiteY50" fmla="*/ 142970 h 428625"/>
                <a:gd name="connsiteX51" fmla="*/ 3194971 w 3867150"/>
                <a:gd name="connsiteY51" fmla="*/ 264223 h 428625"/>
                <a:gd name="connsiteX52" fmla="*/ 3193066 w 3867150"/>
                <a:gd name="connsiteY52" fmla="*/ 284702 h 428625"/>
                <a:gd name="connsiteX53" fmla="*/ 3252883 w 3867150"/>
                <a:gd name="connsiteY53" fmla="*/ 338328 h 428625"/>
                <a:gd name="connsiteX54" fmla="*/ 3283268 w 3867150"/>
                <a:gd name="connsiteY54" fmla="*/ 338328 h 428625"/>
                <a:gd name="connsiteX55" fmla="*/ 3293269 w 3867150"/>
                <a:gd name="connsiteY55" fmla="*/ 288988 h 428625"/>
                <a:gd name="connsiteX56" fmla="*/ 3271933 w 3867150"/>
                <a:gd name="connsiteY56" fmla="*/ 288988 h 428625"/>
                <a:gd name="connsiteX57" fmla="*/ 3252883 w 3867150"/>
                <a:gd name="connsiteY57" fmla="*/ 273748 h 428625"/>
                <a:gd name="connsiteX58" fmla="*/ 3253836 w 3867150"/>
                <a:gd name="connsiteY58" fmla="*/ 264700 h 428625"/>
                <a:gd name="connsiteX59" fmla="*/ 3278029 w 3867150"/>
                <a:gd name="connsiteY59" fmla="*/ 142970 h 428625"/>
                <a:gd name="connsiteX60" fmla="*/ 3318891 w 3867150"/>
                <a:gd name="connsiteY60" fmla="*/ 142970 h 428625"/>
                <a:gd name="connsiteX61" fmla="*/ 3328035 w 3867150"/>
                <a:gd name="connsiteY61" fmla="*/ 98393 h 428625"/>
                <a:gd name="connsiteX62" fmla="*/ 3163062 w 3867150"/>
                <a:gd name="connsiteY62" fmla="*/ 118300 h 428625"/>
                <a:gd name="connsiteX63" fmla="*/ 3080861 w 3867150"/>
                <a:gd name="connsiteY63" fmla="*/ 87916 h 428625"/>
                <a:gd name="connsiteX64" fmla="*/ 2998565 w 3867150"/>
                <a:gd name="connsiteY64" fmla="*/ 116396 h 428625"/>
                <a:gd name="connsiteX65" fmla="*/ 2973420 w 3867150"/>
                <a:gd name="connsiteY65" fmla="*/ 178213 h 428625"/>
                <a:gd name="connsiteX66" fmla="*/ 3032760 w 3867150"/>
                <a:gd name="connsiteY66" fmla="*/ 234315 h 428625"/>
                <a:gd name="connsiteX67" fmla="*/ 3065145 w 3867150"/>
                <a:gd name="connsiteY67" fmla="*/ 239554 h 428625"/>
                <a:gd name="connsiteX68" fmla="*/ 3088481 w 3867150"/>
                <a:gd name="connsiteY68" fmla="*/ 260032 h 428625"/>
                <a:gd name="connsiteX69" fmla="*/ 3037999 w 3867150"/>
                <a:gd name="connsiteY69" fmla="*/ 290894 h 428625"/>
                <a:gd name="connsiteX70" fmla="*/ 2981039 w 3867150"/>
                <a:gd name="connsiteY70" fmla="*/ 267081 h 428625"/>
                <a:gd name="connsiteX71" fmla="*/ 2938748 w 3867150"/>
                <a:gd name="connsiteY71" fmla="*/ 304133 h 428625"/>
                <a:gd name="connsiteX72" fmla="*/ 3034189 w 3867150"/>
                <a:gd name="connsiteY72" fmla="*/ 341186 h 428625"/>
                <a:gd name="connsiteX73" fmla="*/ 3120295 w 3867150"/>
                <a:gd name="connsiteY73" fmla="*/ 314134 h 428625"/>
                <a:gd name="connsiteX74" fmla="*/ 3146870 w 3867150"/>
                <a:gd name="connsiteY74" fmla="*/ 254222 h 428625"/>
                <a:gd name="connsiteX75" fmla="*/ 3087053 w 3867150"/>
                <a:gd name="connsiteY75" fmla="*/ 190024 h 428625"/>
                <a:gd name="connsiteX76" fmla="*/ 3055144 w 3867150"/>
                <a:gd name="connsiteY76" fmla="*/ 184785 h 428625"/>
                <a:gd name="connsiteX77" fmla="*/ 3032284 w 3867150"/>
                <a:gd name="connsiteY77" fmla="*/ 166211 h 428625"/>
                <a:gd name="connsiteX78" fmla="*/ 3075623 w 3867150"/>
                <a:gd name="connsiteY78" fmla="*/ 136303 h 428625"/>
                <a:gd name="connsiteX79" fmla="*/ 3122676 w 3867150"/>
                <a:gd name="connsiteY79" fmla="*/ 153924 h 428625"/>
                <a:gd name="connsiteX80" fmla="*/ 3163062 w 3867150"/>
                <a:gd name="connsiteY80" fmla="*/ 118300 h 428625"/>
                <a:gd name="connsiteX81" fmla="*/ 2858453 w 3867150"/>
                <a:gd name="connsiteY81" fmla="*/ 231934 h 428625"/>
                <a:gd name="connsiteX82" fmla="*/ 2855595 w 3867150"/>
                <a:gd name="connsiteY82" fmla="*/ 246697 h 428625"/>
                <a:gd name="connsiteX83" fmla="*/ 2840831 w 3867150"/>
                <a:gd name="connsiteY83" fmla="*/ 278035 h 428625"/>
                <a:gd name="connsiteX84" fmla="*/ 2802350 w 3867150"/>
                <a:gd name="connsiteY84" fmla="*/ 293275 h 428625"/>
                <a:gd name="connsiteX85" fmla="*/ 2770918 w 3867150"/>
                <a:gd name="connsiteY85" fmla="*/ 269938 h 428625"/>
                <a:gd name="connsiteX86" fmla="*/ 2813209 w 3867150"/>
                <a:gd name="connsiteY86" fmla="*/ 231838 h 428625"/>
                <a:gd name="connsiteX87" fmla="*/ 2858453 w 3867150"/>
                <a:gd name="connsiteY87" fmla="*/ 231838 h 428625"/>
                <a:gd name="connsiteX88" fmla="*/ 2930652 w 3867150"/>
                <a:gd name="connsiteY88" fmla="*/ 156877 h 428625"/>
                <a:gd name="connsiteX89" fmla="*/ 2842736 w 3867150"/>
                <a:gd name="connsiteY89" fmla="*/ 88011 h 428625"/>
                <a:gd name="connsiteX90" fmla="*/ 2751011 w 3867150"/>
                <a:gd name="connsiteY90" fmla="*/ 121253 h 428625"/>
                <a:gd name="connsiteX91" fmla="*/ 2781395 w 3867150"/>
                <a:gd name="connsiteY91" fmla="*/ 160687 h 428625"/>
                <a:gd name="connsiteX92" fmla="*/ 2834640 w 3867150"/>
                <a:gd name="connsiteY92" fmla="*/ 137350 h 428625"/>
                <a:gd name="connsiteX93" fmla="*/ 2871311 w 3867150"/>
                <a:gd name="connsiteY93" fmla="*/ 164021 h 428625"/>
                <a:gd name="connsiteX94" fmla="*/ 2869883 w 3867150"/>
                <a:gd name="connsiteY94" fmla="*/ 176879 h 428625"/>
                <a:gd name="connsiteX95" fmla="*/ 2866549 w 3867150"/>
                <a:gd name="connsiteY95" fmla="*/ 191643 h 428625"/>
                <a:gd name="connsiteX96" fmla="*/ 2807589 w 3867150"/>
                <a:gd name="connsiteY96" fmla="*/ 191643 h 428625"/>
                <a:gd name="connsiteX97" fmla="*/ 2735390 w 3867150"/>
                <a:gd name="connsiteY97" fmla="*/ 217265 h 428625"/>
                <a:gd name="connsiteX98" fmla="*/ 2713101 w 3867150"/>
                <a:gd name="connsiteY98" fmla="*/ 275749 h 428625"/>
                <a:gd name="connsiteX99" fmla="*/ 2783872 w 3867150"/>
                <a:gd name="connsiteY99" fmla="*/ 340805 h 428625"/>
                <a:gd name="connsiteX100" fmla="*/ 2843784 w 3867150"/>
                <a:gd name="connsiteY100" fmla="*/ 316611 h 428625"/>
                <a:gd name="connsiteX101" fmla="*/ 2839498 w 3867150"/>
                <a:gd name="connsiteY101" fmla="*/ 338423 h 428625"/>
                <a:gd name="connsiteX102" fmla="*/ 2896076 w 3867150"/>
                <a:gd name="connsiteY102" fmla="*/ 338423 h 428625"/>
                <a:gd name="connsiteX103" fmla="*/ 2928366 w 3867150"/>
                <a:gd name="connsiteY103" fmla="*/ 178784 h 428625"/>
                <a:gd name="connsiteX104" fmla="*/ 2930652 w 3867150"/>
                <a:gd name="connsiteY104" fmla="*/ 156877 h 428625"/>
                <a:gd name="connsiteX105" fmla="*/ 2697766 w 3867150"/>
                <a:gd name="connsiteY105" fmla="*/ 0 h 428625"/>
                <a:gd name="connsiteX106" fmla="*/ 2638806 w 3867150"/>
                <a:gd name="connsiteY106" fmla="*/ 0 h 428625"/>
                <a:gd name="connsiteX107" fmla="*/ 2586133 w 3867150"/>
                <a:gd name="connsiteY107" fmla="*/ 264223 h 428625"/>
                <a:gd name="connsiteX108" fmla="*/ 2584228 w 3867150"/>
                <a:gd name="connsiteY108" fmla="*/ 284702 h 428625"/>
                <a:gd name="connsiteX109" fmla="*/ 2643569 w 3867150"/>
                <a:gd name="connsiteY109" fmla="*/ 338328 h 428625"/>
                <a:gd name="connsiteX110" fmla="*/ 2675858 w 3867150"/>
                <a:gd name="connsiteY110" fmla="*/ 338328 h 428625"/>
                <a:gd name="connsiteX111" fmla="*/ 2685860 w 3867150"/>
                <a:gd name="connsiteY111" fmla="*/ 288512 h 428625"/>
                <a:gd name="connsiteX112" fmla="*/ 2661666 w 3867150"/>
                <a:gd name="connsiteY112" fmla="*/ 288512 h 428625"/>
                <a:gd name="connsiteX113" fmla="*/ 2643569 w 3867150"/>
                <a:gd name="connsiteY113" fmla="*/ 274225 h 428625"/>
                <a:gd name="connsiteX114" fmla="*/ 2644997 w 3867150"/>
                <a:gd name="connsiteY114" fmla="*/ 263747 h 428625"/>
                <a:gd name="connsiteX115" fmla="*/ 2697766 w 3867150"/>
                <a:gd name="connsiteY115" fmla="*/ 0 h 428625"/>
                <a:gd name="connsiteX116" fmla="*/ 2514791 w 3867150"/>
                <a:gd name="connsiteY116" fmla="*/ 94583 h 428625"/>
                <a:gd name="connsiteX117" fmla="*/ 2455355 w 3867150"/>
                <a:gd name="connsiteY117" fmla="*/ 151638 h 428625"/>
                <a:gd name="connsiteX118" fmla="*/ 2399253 w 3867150"/>
                <a:gd name="connsiteY118" fmla="*/ 151638 h 428625"/>
                <a:gd name="connsiteX119" fmla="*/ 2418779 w 3867150"/>
                <a:gd name="connsiteY119" fmla="*/ 55531 h 428625"/>
                <a:gd name="connsiteX120" fmla="*/ 2476786 w 3867150"/>
                <a:gd name="connsiteY120" fmla="*/ 55531 h 428625"/>
                <a:gd name="connsiteX121" fmla="*/ 2514791 w 3867150"/>
                <a:gd name="connsiteY121" fmla="*/ 94583 h 428625"/>
                <a:gd name="connsiteX122" fmla="*/ 2578037 w 3867150"/>
                <a:gd name="connsiteY122" fmla="*/ 89345 h 428625"/>
                <a:gd name="connsiteX123" fmla="*/ 2487359 w 3867150"/>
                <a:gd name="connsiteY123" fmla="*/ 0 h 428625"/>
                <a:gd name="connsiteX124" fmla="*/ 2367058 w 3867150"/>
                <a:gd name="connsiteY124" fmla="*/ 0 h 428625"/>
                <a:gd name="connsiteX125" fmla="*/ 2299049 w 3867150"/>
                <a:gd name="connsiteY125" fmla="*/ 338328 h 428625"/>
                <a:gd name="connsiteX126" fmla="*/ 2361819 w 3867150"/>
                <a:gd name="connsiteY126" fmla="*/ 338328 h 428625"/>
                <a:gd name="connsiteX127" fmla="*/ 2387918 w 3867150"/>
                <a:gd name="connsiteY127" fmla="*/ 207169 h 428625"/>
                <a:gd name="connsiteX128" fmla="*/ 2453069 w 3867150"/>
                <a:gd name="connsiteY128" fmla="*/ 207169 h 428625"/>
                <a:gd name="connsiteX129" fmla="*/ 2578037 w 3867150"/>
                <a:gd name="connsiteY129" fmla="*/ 89345 h 428625"/>
                <a:gd name="connsiteX130" fmla="*/ 2105501 w 3867150"/>
                <a:gd name="connsiteY130" fmla="*/ 173546 h 428625"/>
                <a:gd name="connsiteX131" fmla="*/ 2101215 w 3867150"/>
                <a:gd name="connsiteY131" fmla="*/ 207740 h 428625"/>
                <a:gd name="connsiteX132" fmla="*/ 2048923 w 3867150"/>
                <a:gd name="connsiteY132" fmla="*/ 275272 h 428625"/>
                <a:gd name="connsiteX133" fmla="*/ 2019490 w 3867150"/>
                <a:gd name="connsiteY133" fmla="*/ 242506 h 428625"/>
                <a:gd name="connsiteX134" fmla="*/ 2023777 w 3867150"/>
                <a:gd name="connsiteY134" fmla="*/ 208312 h 428625"/>
                <a:gd name="connsiteX135" fmla="*/ 2076069 w 3867150"/>
                <a:gd name="connsiteY135" fmla="*/ 140779 h 428625"/>
                <a:gd name="connsiteX136" fmla="*/ 2105501 w 3867150"/>
                <a:gd name="connsiteY136" fmla="*/ 173546 h 428625"/>
                <a:gd name="connsiteX137" fmla="*/ 2105501 w 3867150"/>
                <a:gd name="connsiteY137" fmla="*/ 173546 h 428625"/>
                <a:gd name="connsiteX138" fmla="*/ 2183035 w 3867150"/>
                <a:gd name="connsiteY138" fmla="*/ 90773 h 428625"/>
                <a:gd name="connsiteX139" fmla="*/ 2125980 w 3867150"/>
                <a:gd name="connsiteY139" fmla="*/ 90773 h 428625"/>
                <a:gd name="connsiteX140" fmla="*/ 2121218 w 3867150"/>
                <a:gd name="connsiteY140" fmla="*/ 115919 h 428625"/>
                <a:gd name="connsiteX141" fmla="*/ 2065115 w 3867150"/>
                <a:gd name="connsiteY141" fmla="*/ 87821 h 428625"/>
                <a:gd name="connsiteX142" fmla="*/ 2001964 w 3867150"/>
                <a:gd name="connsiteY142" fmla="*/ 112490 h 428625"/>
                <a:gd name="connsiteX143" fmla="*/ 1964912 w 3867150"/>
                <a:gd name="connsiteY143" fmla="*/ 207550 h 428625"/>
                <a:gd name="connsiteX144" fmla="*/ 1958721 w 3867150"/>
                <a:gd name="connsiteY144" fmla="*/ 257937 h 428625"/>
                <a:gd name="connsiteX145" fmla="*/ 2027111 w 3867150"/>
                <a:gd name="connsiteY145" fmla="*/ 327755 h 428625"/>
                <a:gd name="connsiteX146" fmla="*/ 2082260 w 3867150"/>
                <a:gd name="connsiteY146" fmla="*/ 303086 h 428625"/>
                <a:gd name="connsiteX147" fmla="*/ 2077022 w 3867150"/>
                <a:gd name="connsiteY147" fmla="*/ 328231 h 428625"/>
                <a:gd name="connsiteX148" fmla="*/ 2016633 w 3867150"/>
                <a:gd name="connsiteY148" fmla="*/ 381953 h 428625"/>
                <a:gd name="connsiteX149" fmla="*/ 1975295 w 3867150"/>
                <a:gd name="connsiteY149" fmla="*/ 362426 h 428625"/>
                <a:gd name="connsiteX150" fmla="*/ 1934432 w 3867150"/>
                <a:gd name="connsiteY150" fmla="*/ 398050 h 428625"/>
                <a:gd name="connsiteX151" fmla="*/ 2016633 w 3867150"/>
                <a:gd name="connsiteY151" fmla="*/ 431768 h 428625"/>
                <a:gd name="connsiteX152" fmla="*/ 2135505 w 3867150"/>
                <a:gd name="connsiteY152" fmla="*/ 328613 h 428625"/>
                <a:gd name="connsiteX153" fmla="*/ 2183035 w 3867150"/>
                <a:gd name="connsiteY153" fmla="*/ 90773 h 428625"/>
                <a:gd name="connsiteX154" fmla="*/ 1924431 w 3867150"/>
                <a:gd name="connsiteY154" fmla="*/ 156305 h 428625"/>
                <a:gd name="connsiteX155" fmla="*/ 1861280 w 3867150"/>
                <a:gd name="connsiteY155" fmla="*/ 87916 h 428625"/>
                <a:gd name="connsiteX156" fmla="*/ 1796129 w 3867150"/>
                <a:gd name="connsiteY156" fmla="*/ 114490 h 428625"/>
                <a:gd name="connsiteX157" fmla="*/ 1800415 w 3867150"/>
                <a:gd name="connsiteY157" fmla="*/ 90773 h 428625"/>
                <a:gd name="connsiteX158" fmla="*/ 1743837 w 3867150"/>
                <a:gd name="connsiteY158" fmla="*/ 90773 h 428625"/>
                <a:gd name="connsiteX159" fmla="*/ 1694402 w 3867150"/>
                <a:gd name="connsiteY159" fmla="*/ 338328 h 428625"/>
                <a:gd name="connsiteX160" fmla="*/ 1753362 w 3867150"/>
                <a:gd name="connsiteY160" fmla="*/ 338328 h 428625"/>
                <a:gd name="connsiteX161" fmla="*/ 1783747 w 3867150"/>
                <a:gd name="connsiteY161" fmla="*/ 188119 h 428625"/>
                <a:gd name="connsiteX162" fmla="*/ 1834134 w 3867150"/>
                <a:gd name="connsiteY162" fmla="*/ 140589 h 428625"/>
                <a:gd name="connsiteX163" fmla="*/ 1863566 w 3867150"/>
                <a:gd name="connsiteY163" fmla="*/ 171450 h 428625"/>
                <a:gd name="connsiteX164" fmla="*/ 1861661 w 3867150"/>
                <a:gd name="connsiteY164" fmla="*/ 187642 h 428625"/>
                <a:gd name="connsiteX165" fmla="*/ 1831277 w 3867150"/>
                <a:gd name="connsiteY165" fmla="*/ 338328 h 428625"/>
                <a:gd name="connsiteX166" fmla="*/ 1890141 w 3867150"/>
                <a:gd name="connsiteY166" fmla="*/ 338328 h 428625"/>
                <a:gd name="connsiteX167" fmla="*/ 1921002 w 3867150"/>
                <a:gd name="connsiteY167" fmla="*/ 183832 h 428625"/>
                <a:gd name="connsiteX168" fmla="*/ 1924431 w 3867150"/>
                <a:gd name="connsiteY168" fmla="*/ 156305 h 428625"/>
                <a:gd name="connsiteX169" fmla="*/ 1702022 w 3867150"/>
                <a:gd name="connsiteY169" fmla="*/ 953 h 428625"/>
                <a:gd name="connsiteX170" fmla="*/ 1641157 w 3867150"/>
                <a:gd name="connsiteY170" fmla="*/ 953 h 428625"/>
                <a:gd name="connsiteX171" fmla="*/ 1631632 w 3867150"/>
                <a:gd name="connsiteY171" fmla="*/ 49816 h 428625"/>
                <a:gd name="connsiteX172" fmla="*/ 1692021 w 3867150"/>
                <a:gd name="connsiteY172" fmla="*/ 49816 h 428625"/>
                <a:gd name="connsiteX173" fmla="*/ 1702022 w 3867150"/>
                <a:gd name="connsiteY173" fmla="*/ 953 h 428625"/>
                <a:gd name="connsiteX174" fmla="*/ 1682115 w 3867150"/>
                <a:gd name="connsiteY174" fmla="*/ 98393 h 428625"/>
                <a:gd name="connsiteX175" fmla="*/ 1623155 w 3867150"/>
                <a:gd name="connsiteY175" fmla="*/ 98393 h 428625"/>
                <a:gd name="connsiteX176" fmla="*/ 1575149 w 3867150"/>
                <a:gd name="connsiteY176" fmla="*/ 338423 h 428625"/>
                <a:gd name="connsiteX177" fmla="*/ 1634109 w 3867150"/>
                <a:gd name="connsiteY177" fmla="*/ 338423 h 428625"/>
                <a:gd name="connsiteX178" fmla="*/ 1682115 w 3867150"/>
                <a:gd name="connsiteY178" fmla="*/ 98393 h 428625"/>
                <a:gd name="connsiteX179" fmla="*/ 1592199 w 3867150"/>
                <a:gd name="connsiteY179" fmla="*/ 111252 h 428625"/>
                <a:gd name="connsiteX180" fmla="*/ 1539431 w 3867150"/>
                <a:gd name="connsiteY180" fmla="*/ 88011 h 428625"/>
                <a:gd name="connsiteX181" fmla="*/ 1476661 w 3867150"/>
                <a:gd name="connsiteY181" fmla="*/ 115062 h 428625"/>
                <a:gd name="connsiteX182" fmla="*/ 1481900 w 3867150"/>
                <a:gd name="connsiteY182" fmla="*/ 90869 h 428625"/>
                <a:gd name="connsiteX183" fmla="*/ 1424845 w 3867150"/>
                <a:gd name="connsiteY183" fmla="*/ 90869 h 428625"/>
                <a:gd name="connsiteX184" fmla="*/ 1375410 w 3867150"/>
                <a:gd name="connsiteY184" fmla="*/ 338423 h 428625"/>
                <a:gd name="connsiteX185" fmla="*/ 1434370 w 3867150"/>
                <a:gd name="connsiteY185" fmla="*/ 338423 h 428625"/>
                <a:gd name="connsiteX186" fmla="*/ 1464278 w 3867150"/>
                <a:gd name="connsiteY186" fmla="*/ 188690 h 428625"/>
                <a:gd name="connsiteX187" fmla="*/ 1514189 w 3867150"/>
                <a:gd name="connsiteY187" fmla="*/ 141161 h 428625"/>
                <a:gd name="connsiteX188" fmla="*/ 1541240 w 3867150"/>
                <a:gd name="connsiteY188" fmla="*/ 156400 h 428625"/>
                <a:gd name="connsiteX189" fmla="*/ 1592199 w 3867150"/>
                <a:gd name="connsiteY189" fmla="*/ 111252 h 428625"/>
                <a:gd name="connsiteX190" fmla="*/ 1298067 w 3867150"/>
                <a:gd name="connsiteY190" fmla="*/ 176308 h 428625"/>
                <a:gd name="connsiteX191" fmla="*/ 1296638 w 3867150"/>
                <a:gd name="connsiteY191" fmla="*/ 192977 h 428625"/>
                <a:gd name="connsiteX192" fmla="*/ 1205770 w 3867150"/>
                <a:gd name="connsiteY192" fmla="*/ 192977 h 428625"/>
                <a:gd name="connsiteX193" fmla="*/ 1262825 w 3867150"/>
                <a:gd name="connsiteY193" fmla="*/ 136303 h 428625"/>
                <a:gd name="connsiteX194" fmla="*/ 1298067 w 3867150"/>
                <a:gd name="connsiteY194" fmla="*/ 176308 h 428625"/>
                <a:gd name="connsiteX195" fmla="*/ 1354074 w 3867150"/>
                <a:gd name="connsiteY195" fmla="*/ 176308 h 428625"/>
                <a:gd name="connsiteX196" fmla="*/ 1266158 w 3867150"/>
                <a:gd name="connsiteY196" fmla="*/ 87916 h 428625"/>
                <a:gd name="connsiteX197" fmla="*/ 1140238 w 3867150"/>
                <a:gd name="connsiteY197" fmla="*/ 254222 h 428625"/>
                <a:gd name="connsiteX198" fmla="*/ 1231964 w 3867150"/>
                <a:gd name="connsiteY198" fmla="*/ 341186 h 428625"/>
                <a:gd name="connsiteX199" fmla="*/ 1328452 w 3867150"/>
                <a:gd name="connsiteY199" fmla="*/ 305086 h 428625"/>
                <a:gd name="connsiteX200" fmla="*/ 1297591 w 3867150"/>
                <a:gd name="connsiteY200" fmla="*/ 266129 h 428625"/>
                <a:gd name="connsiteX201" fmla="*/ 1238631 w 3867150"/>
                <a:gd name="connsiteY201" fmla="*/ 291370 h 428625"/>
                <a:gd name="connsiteX202" fmla="*/ 1196340 w 3867150"/>
                <a:gd name="connsiteY202" fmla="*/ 249936 h 428625"/>
                <a:gd name="connsiteX203" fmla="*/ 1198245 w 3867150"/>
                <a:gd name="connsiteY203" fmla="*/ 232315 h 428625"/>
                <a:gd name="connsiteX204" fmla="*/ 1346549 w 3867150"/>
                <a:gd name="connsiteY204" fmla="*/ 232315 h 428625"/>
                <a:gd name="connsiteX205" fmla="*/ 1354074 w 3867150"/>
                <a:gd name="connsiteY205" fmla="*/ 176308 h 428625"/>
                <a:gd name="connsiteX206" fmla="*/ 1054227 w 3867150"/>
                <a:gd name="connsiteY206" fmla="*/ 176308 h 428625"/>
                <a:gd name="connsiteX207" fmla="*/ 1052798 w 3867150"/>
                <a:gd name="connsiteY207" fmla="*/ 192977 h 428625"/>
                <a:gd name="connsiteX208" fmla="*/ 961930 w 3867150"/>
                <a:gd name="connsiteY208" fmla="*/ 192977 h 428625"/>
                <a:gd name="connsiteX209" fmla="*/ 1018984 w 3867150"/>
                <a:gd name="connsiteY209" fmla="*/ 136303 h 428625"/>
                <a:gd name="connsiteX210" fmla="*/ 1054227 w 3867150"/>
                <a:gd name="connsiteY210" fmla="*/ 176308 h 428625"/>
                <a:gd name="connsiteX211" fmla="*/ 1110234 w 3867150"/>
                <a:gd name="connsiteY211" fmla="*/ 176308 h 428625"/>
                <a:gd name="connsiteX212" fmla="*/ 1022318 w 3867150"/>
                <a:gd name="connsiteY212" fmla="*/ 87916 h 428625"/>
                <a:gd name="connsiteX213" fmla="*/ 896398 w 3867150"/>
                <a:gd name="connsiteY213" fmla="*/ 254222 h 428625"/>
                <a:gd name="connsiteX214" fmla="*/ 988124 w 3867150"/>
                <a:gd name="connsiteY214" fmla="*/ 341186 h 428625"/>
                <a:gd name="connsiteX215" fmla="*/ 1084612 w 3867150"/>
                <a:gd name="connsiteY215" fmla="*/ 305086 h 428625"/>
                <a:gd name="connsiteX216" fmla="*/ 1053751 w 3867150"/>
                <a:gd name="connsiteY216" fmla="*/ 266129 h 428625"/>
                <a:gd name="connsiteX217" fmla="*/ 994791 w 3867150"/>
                <a:gd name="connsiteY217" fmla="*/ 291370 h 428625"/>
                <a:gd name="connsiteX218" fmla="*/ 952500 w 3867150"/>
                <a:gd name="connsiteY218" fmla="*/ 249936 h 428625"/>
                <a:gd name="connsiteX219" fmla="*/ 954405 w 3867150"/>
                <a:gd name="connsiteY219" fmla="*/ 232315 h 428625"/>
                <a:gd name="connsiteX220" fmla="*/ 1102709 w 3867150"/>
                <a:gd name="connsiteY220" fmla="*/ 232315 h 428625"/>
                <a:gd name="connsiteX221" fmla="*/ 1110234 w 3867150"/>
                <a:gd name="connsiteY221" fmla="*/ 176308 h 428625"/>
                <a:gd name="connsiteX222" fmla="*/ 863537 w 3867150"/>
                <a:gd name="connsiteY222" fmla="*/ 156305 h 428625"/>
                <a:gd name="connsiteX223" fmla="*/ 800386 w 3867150"/>
                <a:gd name="connsiteY223" fmla="*/ 87916 h 428625"/>
                <a:gd name="connsiteX224" fmla="*/ 735235 w 3867150"/>
                <a:gd name="connsiteY224" fmla="*/ 114490 h 428625"/>
                <a:gd name="connsiteX225" fmla="*/ 739521 w 3867150"/>
                <a:gd name="connsiteY225" fmla="*/ 90773 h 428625"/>
                <a:gd name="connsiteX226" fmla="*/ 682943 w 3867150"/>
                <a:gd name="connsiteY226" fmla="*/ 90773 h 428625"/>
                <a:gd name="connsiteX227" fmla="*/ 633508 w 3867150"/>
                <a:gd name="connsiteY227" fmla="*/ 338328 h 428625"/>
                <a:gd name="connsiteX228" fmla="*/ 692468 w 3867150"/>
                <a:gd name="connsiteY228" fmla="*/ 338328 h 428625"/>
                <a:gd name="connsiteX229" fmla="*/ 722852 w 3867150"/>
                <a:gd name="connsiteY229" fmla="*/ 188119 h 428625"/>
                <a:gd name="connsiteX230" fmla="*/ 773240 w 3867150"/>
                <a:gd name="connsiteY230" fmla="*/ 140589 h 428625"/>
                <a:gd name="connsiteX231" fmla="*/ 802672 w 3867150"/>
                <a:gd name="connsiteY231" fmla="*/ 171450 h 428625"/>
                <a:gd name="connsiteX232" fmla="*/ 800767 w 3867150"/>
                <a:gd name="connsiteY232" fmla="*/ 187642 h 428625"/>
                <a:gd name="connsiteX233" fmla="*/ 770382 w 3867150"/>
                <a:gd name="connsiteY233" fmla="*/ 338328 h 428625"/>
                <a:gd name="connsiteX234" fmla="*/ 829247 w 3867150"/>
                <a:gd name="connsiteY234" fmla="*/ 338328 h 428625"/>
                <a:gd name="connsiteX235" fmla="*/ 860108 w 3867150"/>
                <a:gd name="connsiteY235" fmla="*/ 183832 h 428625"/>
                <a:gd name="connsiteX236" fmla="*/ 863537 w 3867150"/>
                <a:gd name="connsiteY236" fmla="*/ 156305 h 428625"/>
                <a:gd name="connsiteX237" fmla="*/ 553688 w 3867150"/>
                <a:gd name="connsiteY237" fmla="*/ 176308 h 428625"/>
                <a:gd name="connsiteX238" fmla="*/ 548450 w 3867150"/>
                <a:gd name="connsiteY238" fmla="*/ 214313 h 428625"/>
                <a:gd name="connsiteX239" fmla="*/ 523208 w 3867150"/>
                <a:gd name="connsiteY239" fmla="*/ 276130 h 428625"/>
                <a:gd name="connsiteX240" fmla="*/ 492824 w 3867150"/>
                <a:gd name="connsiteY240" fmla="*/ 288512 h 428625"/>
                <a:gd name="connsiteX241" fmla="*/ 461391 w 3867150"/>
                <a:gd name="connsiteY241" fmla="*/ 252889 h 428625"/>
                <a:gd name="connsiteX242" fmla="*/ 466630 w 3867150"/>
                <a:gd name="connsiteY242" fmla="*/ 214408 h 428625"/>
                <a:gd name="connsiteX243" fmla="*/ 491871 w 3867150"/>
                <a:gd name="connsiteY243" fmla="*/ 153067 h 428625"/>
                <a:gd name="connsiteX244" fmla="*/ 522351 w 3867150"/>
                <a:gd name="connsiteY244" fmla="*/ 140684 h 428625"/>
                <a:gd name="connsiteX245" fmla="*/ 553688 w 3867150"/>
                <a:gd name="connsiteY245" fmla="*/ 176308 h 428625"/>
                <a:gd name="connsiteX246" fmla="*/ 612172 w 3867150"/>
                <a:gd name="connsiteY246" fmla="*/ 169640 h 428625"/>
                <a:gd name="connsiteX247" fmla="*/ 528542 w 3867150"/>
                <a:gd name="connsiteY247" fmla="*/ 87916 h 428625"/>
                <a:gd name="connsiteX248" fmla="*/ 452438 w 3867150"/>
                <a:gd name="connsiteY248" fmla="*/ 116396 h 428625"/>
                <a:gd name="connsiteX249" fmla="*/ 408242 w 3867150"/>
                <a:gd name="connsiteY249" fmla="*/ 214313 h 428625"/>
                <a:gd name="connsiteX250" fmla="*/ 403003 w 3867150"/>
                <a:gd name="connsiteY250" fmla="*/ 259461 h 428625"/>
                <a:gd name="connsiteX251" fmla="*/ 487109 w 3867150"/>
                <a:gd name="connsiteY251" fmla="*/ 341186 h 428625"/>
                <a:gd name="connsiteX252" fmla="*/ 563213 w 3867150"/>
                <a:gd name="connsiteY252" fmla="*/ 312706 h 428625"/>
                <a:gd name="connsiteX253" fmla="*/ 607409 w 3867150"/>
                <a:gd name="connsiteY253" fmla="*/ 214313 h 428625"/>
                <a:gd name="connsiteX254" fmla="*/ 612172 w 3867150"/>
                <a:gd name="connsiteY254" fmla="*/ 169640 h 428625"/>
                <a:gd name="connsiteX255" fmla="*/ 401098 w 3867150"/>
                <a:gd name="connsiteY255" fmla="*/ 953 h 428625"/>
                <a:gd name="connsiteX256" fmla="*/ 340233 w 3867150"/>
                <a:gd name="connsiteY256" fmla="*/ 953 h 428625"/>
                <a:gd name="connsiteX257" fmla="*/ 330708 w 3867150"/>
                <a:gd name="connsiteY257" fmla="*/ 49816 h 428625"/>
                <a:gd name="connsiteX258" fmla="*/ 391096 w 3867150"/>
                <a:gd name="connsiteY258" fmla="*/ 49816 h 428625"/>
                <a:gd name="connsiteX259" fmla="*/ 401098 w 3867150"/>
                <a:gd name="connsiteY259" fmla="*/ 953 h 428625"/>
                <a:gd name="connsiteX260" fmla="*/ 381191 w 3867150"/>
                <a:gd name="connsiteY260" fmla="*/ 98393 h 428625"/>
                <a:gd name="connsiteX261" fmla="*/ 322231 w 3867150"/>
                <a:gd name="connsiteY261" fmla="*/ 98393 h 428625"/>
                <a:gd name="connsiteX262" fmla="*/ 274225 w 3867150"/>
                <a:gd name="connsiteY262" fmla="*/ 338423 h 428625"/>
                <a:gd name="connsiteX263" fmla="*/ 333184 w 3867150"/>
                <a:gd name="connsiteY263" fmla="*/ 338423 h 428625"/>
                <a:gd name="connsiteX264" fmla="*/ 381191 w 3867150"/>
                <a:gd name="connsiteY264" fmla="*/ 98393 h 428625"/>
                <a:gd name="connsiteX265" fmla="*/ 215741 w 3867150"/>
                <a:gd name="connsiteY265" fmla="*/ 94583 h 428625"/>
                <a:gd name="connsiteX266" fmla="*/ 156305 w 3867150"/>
                <a:gd name="connsiteY266" fmla="*/ 151638 h 428625"/>
                <a:gd name="connsiteX267" fmla="*/ 100203 w 3867150"/>
                <a:gd name="connsiteY267" fmla="*/ 151638 h 428625"/>
                <a:gd name="connsiteX268" fmla="*/ 119729 w 3867150"/>
                <a:gd name="connsiteY268" fmla="*/ 55531 h 428625"/>
                <a:gd name="connsiteX269" fmla="*/ 177737 w 3867150"/>
                <a:gd name="connsiteY269" fmla="*/ 55531 h 428625"/>
                <a:gd name="connsiteX270" fmla="*/ 215741 w 3867150"/>
                <a:gd name="connsiteY270" fmla="*/ 94583 h 428625"/>
                <a:gd name="connsiteX271" fmla="*/ 278987 w 3867150"/>
                <a:gd name="connsiteY271" fmla="*/ 89345 h 428625"/>
                <a:gd name="connsiteX272" fmla="*/ 188214 w 3867150"/>
                <a:gd name="connsiteY272" fmla="*/ 0 h 428625"/>
                <a:gd name="connsiteX273" fmla="*/ 68008 w 3867150"/>
                <a:gd name="connsiteY273" fmla="*/ 0 h 428625"/>
                <a:gd name="connsiteX274" fmla="*/ 0 w 3867150"/>
                <a:gd name="connsiteY274" fmla="*/ 338328 h 428625"/>
                <a:gd name="connsiteX275" fmla="*/ 62770 w 3867150"/>
                <a:gd name="connsiteY275" fmla="*/ 338328 h 428625"/>
                <a:gd name="connsiteX276" fmla="*/ 88868 w 3867150"/>
                <a:gd name="connsiteY276" fmla="*/ 207169 h 428625"/>
                <a:gd name="connsiteX277" fmla="*/ 154019 w 3867150"/>
                <a:gd name="connsiteY277" fmla="*/ 207169 h 428625"/>
                <a:gd name="connsiteX278" fmla="*/ 278987 w 3867150"/>
                <a:gd name="connsiteY278" fmla="*/ 89345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3867150" h="428625">
                  <a:moveTo>
                    <a:pt x="3869817" y="118300"/>
                  </a:moveTo>
                  <a:cubicBezTo>
                    <a:pt x="3848481" y="96488"/>
                    <a:pt x="3822764" y="87916"/>
                    <a:pt x="3787617" y="87916"/>
                  </a:cubicBezTo>
                  <a:cubicBezTo>
                    <a:pt x="3752374" y="87916"/>
                    <a:pt x="3723894" y="97917"/>
                    <a:pt x="3705416" y="116396"/>
                  </a:cubicBezTo>
                  <a:cubicBezTo>
                    <a:pt x="3688842" y="132969"/>
                    <a:pt x="3680270" y="155353"/>
                    <a:pt x="3680270" y="178213"/>
                  </a:cubicBezTo>
                  <a:cubicBezTo>
                    <a:pt x="3680270" y="201549"/>
                    <a:pt x="3694462" y="226695"/>
                    <a:pt x="3739610" y="234315"/>
                  </a:cubicBezTo>
                  <a:lnTo>
                    <a:pt x="3771995" y="239554"/>
                  </a:lnTo>
                  <a:cubicBezTo>
                    <a:pt x="3786283" y="241935"/>
                    <a:pt x="3795332" y="246697"/>
                    <a:pt x="3795332" y="260032"/>
                  </a:cubicBezTo>
                  <a:cubicBezTo>
                    <a:pt x="3795332" y="274796"/>
                    <a:pt x="3778663" y="290894"/>
                    <a:pt x="3744944" y="290894"/>
                  </a:cubicBezTo>
                  <a:cubicBezTo>
                    <a:pt x="3716941" y="290894"/>
                    <a:pt x="3700272" y="281369"/>
                    <a:pt x="3687985" y="267081"/>
                  </a:cubicBezTo>
                  <a:lnTo>
                    <a:pt x="3645694" y="304133"/>
                  </a:lnTo>
                  <a:cubicBezTo>
                    <a:pt x="3667601" y="327850"/>
                    <a:pt x="3697034" y="341186"/>
                    <a:pt x="3741135" y="341186"/>
                  </a:cubicBezTo>
                  <a:cubicBezTo>
                    <a:pt x="3773043" y="341186"/>
                    <a:pt x="3807238" y="333565"/>
                    <a:pt x="3827145" y="314134"/>
                  </a:cubicBezTo>
                  <a:cubicBezTo>
                    <a:pt x="3843338" y="298513"/>
                    <a:pt x="3853720" y="278987"/>
                    <a:pt x="3853720" y="254222"/>
                  </a:cubicBezTo>
                  <a:cubicBezTo>
                    <a:pt x="3853720" y="220028"/>
                    <a:pt x="3838004" y="197167"/>
                    <a:pt x="3793903" y="190024"/>
                  </a:cubicBezTo>
                  <a:lnTo>
                    <a:pt x="3761994" y="184785"/>
                  </a:lnTo>
                  <a:cubicBezTo>
                    <a:pt x="3746754" y="182404"/>
                    <a:pt x="3739134" y="176689"/>
                    <a:pt x="3739134" y="166211"/>
                  </a:cubicBezTo>
                  <a:cubicBezTo>
                    <a:pt x="3739134" y="150971"/>
                    <a:pt x="3752469" y="136303"/>
                    <a:pt x="3782377" y="136303"/>
                  </a:cubicBezTo>
                  <a:cubicBezTo>
                    <a:pt x="3799999" y="136303"/>
                    <a:pt x="3818001" y="142018"/>
                    <a:pt x="3829431" y="153924"/>
                  </a:cubicBezTo>
                  <a:lnTo>
                    <a:pt x="3869817" y="118300"/>
                  </a:lnTo>
                  <a:close/>
                  <a:moveTo>
                    <a:pt x="3661220" y="122111"/>
                  </a:moveTo>
                  <a:cubicBezTo>
                    <a:pt x="3646456" y="103156"/>
                    <a:pt x="3624644" y="87916"/>
                    <a:pt x="3588544" y="87916"/>
                  </a:cubicBezTo>
                  <a:cubicBezTo>
                    <a:pt x="3538157" y="87916"/>
                    <a:pt x="3481197" y="113538"/>
                    <a:pt x="3462623" y="214313"/>
                  </a:cubicBezTo>
                  <a:cubicBezTo>
                    <a:pt x="3460242" y="227171"/>
                    <a:pt x="3458813" y="240982"/>
                    <a:pt x="3458813" y="252794"/>
                  </a:cubicBezTo>
                  <a:cubicBezTo>
                    <a:pt x="3458813" y="311277"/>
                    <a:pt x="3500628" y="341186"/>
                    <a:pt x="3547586" y="341186"/>
                  </a:cubicBezTo>
                  <a:cubicBezTo>
                    <a:pt x="3579400" y="341186"/>
                    <a:pt x="3608451" y="329279"/>
                    <a:pt x="3629311" y="309848"/>
                  </a:cubicBezTo>
                  <a:lnTo>
                    <a:pt x="3596545" y="267557"/>
                  </a:lnTo>
                  <a:cubicBezTo>
                    <a:pt x="3582734" y="281369"/>
                    <a:pt x="3569875" y="288512"/>
                    <a:pt x="3553301" y="288512"/>
                  </a:cubicBezTo>
                  <a:cubicBezTo>
                    <a:pt x="3530441" y="288512"/>
                    <a:pt x="3518154" y="272320"/>
                    <a:pt x="3518154" y="246221"/>
                  </a:cubicBezTo>
                  <a:cubicBezTo>
                    <a:pt x="3518154" y="234791"/>
                    <a:pt x="3519583" y="225266"/>
                    <a:pt x="3521488" y="214313"/>
                  </a:cubicBezTo>
                  <a:cubicBezTo>
                    <a:pt x="3525774" y="190976"/>
                    <a:pt x="3534823" y="169640"/>
                    <a:pt x="3547586" y="156305"/>
                  </a:cubicBezTo>
                  <a:cubicBezTo>
                    <a:pt x="3558064" y="145352"/>
                    <a:pt x="3569970" y="140589"/>
                    <a:pt x="3582734" y="140589"/>
                  </a:cubicBezTo>
                  <a:cubicBezTo>
                    <a:pt x="3597497" y="140589"/>
                    <a:pt x="3607499" y="148209"/>
                    <a:pt x="3616928" y="161068"/>
                  </a:cubicBezTo>
                  <a:lnTo>
                    <a:pt x="3661220" y="122111"/>
                  </a:lnTo>
                  <a:close/>
                  <a:moveTo>
                    <a:pt x="3456813" y="953"/>
                  </a:moveTo>
                  <a:lnTo>
                    <a:pt x="3395948" y="953"/>
                  </a:lnTo>
                  <a:lnTo>
                    <a:pt x="3386423" y="49816"/>
                  </a:lnTo>
                  <a:lnTo>
                    <a:pt x="3446812" y="49816"/>
                  </a:lnTo>
                  <a:lnTo>
                    <a:pt x="3456813" y="953"/>
                  </a:lnTo>
                  <a:close/>
                  <a:moveTo>
                    <a:pt x="3436906" y="98393"/>
                  </a:moveTo>
                  <a:lnTo>
                    <a:pt x="3377946" y="98393"/>
                  </a:lnTo>
                  <a:lnTo>
                    <a:pt x="3329940" y="338423"/>
                  </a:lnTo>
                  <a:lnTo>
                    <a:pt x="3388900" y="338423"/>
                  </a:lnTo>
                  <a:lnTo>
                    <a:pt x="3436906" y="98393"/>
                  </a:lnTo>
                  <a:close/>
                  <a:moveTo>
                    <a:pt x="3328035" y="98393"/>
                  </a:moveTo>
                  <a:lnTo>
                    <a:pt x="3287173" y="98393"/>
                  </a:lnTo>
                  <a:lnTo>
                    <a:pt x="3301937" y="24289"/>
                  </a:lnTo>
                  <a:lnTo>
                    <a:pt x="3242977" y="24289"/>
                  </a:lnTo>
                  <a:lnTo>
                    <a:pt x="3228213" y="98393"/>
                  </a:lnTo>
                  <a:lnTo>
                    <a:pt x="3203067" y="98393"/>
                  </a:lnTo>
                  <a:lnTo>
                    <a:pt x="3194019" y="142970"/>
                  </a:lnTo>
                  <a:lnTo>
                    <a:pt x="3219164" y="142970"/>
                  </a:lnTo>
                  <a:lnTo>
                    <a:pt x="3194971" y="264223"/>
                  </a:lnTo>
                  <a:cubicBezTo>
                    <a:pt x="3194019" y="269462"/>
                    <a:pt x="3193066" y="276130"/>
                    <a:pt x="3193066" y="284702"/>
                  </a:cubicBezTo>
                  <a:cubicBezTo>
                    <a:pt x="3193066" y="318421"/>
                    <a:pt x="3218688" y="338328"/>
                    <a:pt x="3252883" y="338328"/>
                  </a:cubicBezTo>
                  <a:lnTo>
                    <a:pt x="3283268" y="338328"/>
                  </a:lnTo>
                  <a:lnTo>
                    <a:pt x="3293269" y="288988"/>
                  </a:lnTo>
                  <a:lnTo>
                    <a:pt x="3271933" y="288988"/>
                  </a:lnTo>
                  <a:cubicBezTo>
                    <a:pt x="3259074" y="288988"/>
                    <a:pt x="3252883" y="283750"/>
                    <a:pt x="3252883" y="273748"/>
                  </a:cubicBezTo>
                  <a:cubicBezTo>
                    <a:pt x="3252883" y="271367"/>
                    <a:pt x="3252883" y="269462"/>
                    <a:pt x="3253836" y="264700"/>
                  </a:cubicBezTo>
                  <a:lnTo>
                    <a:pt x="3278029" y="142970"/>
                  </a:lnTo>
                  <a:lnTo>
                    <a:pt x="3318891" y="142970"/>
                  </a:lnTo>
                  <a:lnTo>
                    <a:pt x="3328035" y="98393"/>
                  </a:lnTo>
                  <a:close/>
                  <a:moveTo>
                    <a:pt x="3163062" y="118300"/>
                  </a:moveTo>
                  <a:cubicBezTo>
                    <a:pt x="3141726" y="96488"/>
                    <a:pt x="3116009" y="87916"/>
                    <a:pt x="3080861" y="87916"/>
                  </a:cubicBezTo>
                  <a:cubicBezTo>
                    <a:pt x="3045619" y="87916"/>
                    <a:pt x="3017139" y="97917"/>
                    <a:pt x="2998565" y="116396"/>
                  </a:cubicBezTo>
                  <a:cubicBezTo>
                    <a:pt x="2981992" y="132969"/>
                    <a:pt x="2973420" y="155353"/>
                    <a:pt x="2973420" y="178213"/>
                  </a:cubicBezTo>
                  <a:cubicBezTo>
                    <a:pt x="2973420" y="201549"/>
                    <a:pt x="2987707" y="226695"/>
                    <a:pt x="3032760" y="234315"/>
                  </a:cubicBezTo>
                  <a:lnTo>
                    <a:pt x="3065145" y="239554"/>
                  </a:lnTo>
                  <a:cubicBezTo>
                    <a:pt x="3079433" y="241935"/>
                    <a:pt x="3088481" y="246697"/>
                    <a:pt x="3088481" y="260032"/>
                  </a:cubicBezTo>
                  <a:cubicBezTo>
                    <a:pt x="3088481" y="274796"/>
                    <a:pt x="3071813" y="290894"/>
                    <a:pt x="3037999" y="290894"/>
                  </a:cubicBezTo>
                  <a:cubicBezTo>
                    <a:pt x="3009995" y="290894"/>
                    <a:pt x="2993327" y="281369"/>
                    <a:pt x="2981039" y="267081"/>
                  </a:cubicBezTo>
                  <a:lnTo>
                    <a:pt x="2938748" y="304133"/>
                  </a:lnTo>
                  <a:cubicBezTo>
                    <a:pt x="2960656" y="327850"/>
                    <a:pt x="2990088" y="341186"/>
                    <a:pt x="3034189" y="341186"/>
                  </a:cubicBezTo>
                  <a:cubicBezTo>
                    <a:pt x="3066098" y="341186"/>
                    <a:pt x="3100292" y="333565"/>
                    <a:pt x="3120295" y="314134"/>
                  </a:cubicBezTo>
                  <a:cubicBezTo>
                    <a:pt x="3136392" y="298513"/>
                    <a:pt x="3146870" y="278987"/>
                    <a:pt x="3146870" y="254222"/>
                  </a:cubicBezTo>
                  <a:cubicBezTo>
                    <a:pt x="3146870" y="220028"/>
                    <a:pt x="3131153" y="197167"/>
                    <a:pt x="3087053" y="190024"/>
                  </a:cubicBezTo>
                  <a:lnTo>
                    <a:pt x="3055144" y="184785"/>
                  </a:lnTo>
                  <a:cubicBezTo>
                    <a:pt x="3039904" y="182404"/>
                    <a:pt x="3032284" y="176689"/>
                    <a:pt x="3032284" y="166211"/>
                  </a:cubicBezTo>
                  <a:cubicBezTo>
                    <a:pt x="3032284" y="150971"/>
                    <a:pt x="3045619" y="136303"/>
                    <a:pt x="3075623" y="136303"/>
                  </a:cubicBezTo>
                  <a:cubicBezTo>
                    <a:pt x="3093244" y="136303"/>
                    <a:pt x="3111246" y="142018"/>
                    <a:pt x="3122676" y="153924"/>
                  </a:cubicBezTo>
                  <a:lnTo>
                    <a:pt x="3163062" y="118300"/>
                  </a:lnTo>
                  <a:close/>
                  <a:moveTo>
                    <a:pt x="2858453" y="231934"/>
                  </a:moveTo>
                  <a:lnTo>
                    <a:pt x="2855595" y="246697"/>
                  </a:lnTo>
                  <a:cubicBezTo>
                    <a:pt x="2853214" y="259080"/>
                    <a:pt x="2848451" y="270415"/>
                    <a:pt x="2840831" y="278035"/>
                  </a:cubicBezTo>
                  <a:cubicBezTo>
                    <a:pt x="2831783" y="287083"/>
                    <a:pt x="2818448" y="293275"/>
                    <a:pt x="2802350" y="293275"/>
                  </a:cubicBezTo>
                  <a:cubicBezTo>
                    <a:pt x="2780919" y="293275"/>
                    <a:pt x="2770918" y="283750"/>
                    <a:pt x="2770918" y="269938"/>
                  </a:cubicBezTo>
                  <a:cubicBezTo>
                    <a:pt x="2770918" y="248031"/>
                    <a:pt x="2786634" y="231838"/>
                    <a:pt x="2813209" y="231838"/>
                  </a:cubicBezTo>
                  <a:lnTo>
                    <a:pt x="2858453" y="231838"/>
                  </a:lnTo>
                  <a:close/>
                  <a:moveTo>
                    <a:pt x="2930652" y="156877"/>
                  </a:moveTo>
                  <a:cubicBezTo>
                    <a:pt x="2930652" y="104108"/>
                    <a:pt x="2884075" y="88011"/>
                    <a:pt x="2842736" y="88011"/>
                  </a:cubicBezTo>
                  <a:cubicBezTo>
                    <a:pt x="2796636" y="88011"/>
                    <a:pt x="2770918" y="100870"/>
                    <a:pt x="2751011" y="121253"/>
                  </a:cubicBezTo>
                  <a:lnTo>
                    <a:pt x="2781395" y="160687"/>
                  </a:lnTo>
                  <a:cubicBezTo>
                    <a:pt x="2793778" y="146875"/>
                    <a:pt x="2810447" y="137350"/>
                    <a:pt x="2834640" y="137350"/>
                  </a:cubicBezTo>
                  <a:cubicBezTo>
                    <a:pt x="2859405" y="137350"/>
                    <a:pt x="2871311" y="147352"/>
                    <a:pt x="2871311" y="164021"/>
                  </a:cubicBezTo>
                  <a:cubicBezTo>
                    <a:pt x="2871311" y="168783"/>
                    <a:pt x="2870835" y="172117"/>
                    <a:pt x="2869883" y="176879"/>
                  </a:cubicBezTo>
                  <a:lnTo>
                    <a:pt x="2866549" y="191643"/>
                  </a:lnTo>
                  <a:lnTo>
                    <a:pt x="2807589" y="191643"/>
                  </a:lnTo>
                  <a:cubicBezTo>
                    <a:pt x="2779014" y="191643"/>
                    <a:pt x="2753868" y="199263"/>
                    <a:pt x="2735390" y="217265"/>
                  </a:cubicBezTo>
                  <a:cubicBezTo>
                    <a:pt x="2721102" y="231457"/>
                    <a:pt x="2713101" y="251460"/>
                    <a:pt x="2713101" y="275749"/>
                  </a:cubicBezTo>
                  <a:cubicBezTo>
                    <a:pt x="2713101" y="313277"/>
                    <a:pt x="2740628" y="340805"/>
                    <a:pt x="2783872" y="340805"/>
                  </a:cubicBezTo>
                  <a:cubicBezTo>
                    <a:pt x="2811018" y="340805"/>
                    <a:pt x="2829973" y="330327"/>
                    <a:pt x="2843784" y="316611"/>
                  </a:cubicBezTo>
                  <a:lnTo>
                    <a:pt x="2839498" y="338423"/>
                  </a:lnTo>
                  <a:lnTo>
                    <a:pt x="2896076" y="338423"/>
                  </a:lnTo>
                  <a:lnTo>
                    <a:pt x="2928366" y="178784"/>
                  </a:lnTo>
                  <a:cubicBezTo>
                    <a:pt x="2929700" y="172021"/>
                    <a:pt x="2930652" y="163544"/>
                    <a:pt x="2930652" y="156877"/>
                  </a:cubicBezTo>
                  <a:moveTo>
                    <a:pt x="2697766" y="0"/>
                  </a:moveTo>
                  <a:lnTo>
                    <a:pt x="2638806" y="0"/>
                  </a:lnTo>
                  <a:lnTo>
                    <a:pt x="2586133" y="264223"/>
                  </a:lnTo>
                  <a:cubicBezTo>
                    <a:pt x="2584704" y="270891"/>
                    <a:pt x="2584228" y="277082"/>
                    <a:pt x="2584228" y="284702"/>
                  </a:cubicBezTo>
                  <a:cubicBezTo>
                    <a:pt x="2584228" y="318421"/>
                    <a:pt x="2609374" y="338328"/>
                    <a:pt x="2643569" y="338328"/>
                  </a:cubicBezTo>
                  <a:lnTo>
                    <a:pt x="2675858" y="338328"/>
                  </a:lnTo>
                  <a:lnTo>
                    <a:pt x="2685860" y="288512"/>
                  </a:lnTo>
                  <a:lnTo>
                    <a:pt x="2661666" y="288512"/>
                  </a:lnTo>
                  <a:cubicBezTo>
                    <a:pt x="2648807" y="288512"/>
                    <a:pt x="2643569" y="283273"/>
                    <a:pt x="2643569" y="274225"/>
                  </a:cubicBezTo>
                  <a:cubicBezTo>
                    <a:pt x="2643569" y="270415"/>
                    <a:pt x="2644045" y="268033"/>
                    <a:pt x="2644997" y="263747"/>
                  </a:cubicBezTo>
                  <a:lnTo>
                    <a:pt x="2697766" y="0"/>
                  </a:lnTo>
                  <a:close/>
                  <a:moveTo>
                    <a:pt x="2514791" y="94583"/>
                  </a:moveTo>
                  <a:cubicBezTo>
                    <a:pt x="2514791" y="120301"/>
                    <a:pt x="2496217" y="151638"/>
                    <a:pt x="2455355" y="151638"/>
                  </a:cubicBezTo>
                  <a:lnTo>
                    <a:pt x="2399253" y="151638"/>
                  </a:lnTo>
                  <a:lnTo>
                    <a:pt x="2418779" y="55531"/>
                  </a:lnTo>
                  <a:lnTo>
                    <a:pt x="2476786" y="55531"/>
                  </a:lnTo>
                  <a:cubicBezTo>
                    <a:pt x="2504885" y="55531"/>
                    <a:pt x="2514791" y="73152"/>
                    <a:pt x="2514791" y="94583"/>
                  </a:cubicBezTo>
                  <a:moveTo>
                    <a:pt x="2578037" y="89345"/>
                  </a:moveTo>
                  <a:cubicBezTo>
                    <a:pt x="2578037" y="36576"/>
                    <a:pt x="2544795" y="0"/>
                    <a:pt x="2487359" y="0"/>
                  </a:cubicBezTo>
                  <a:lnTo>
                    <a:pt x="2367058" y="0"/>
                  </a:lnTo>
                  <a:lnTo>
                    <a:pt x="2299049" y="338328"/>
                  </a:lnTo>
                  <a:lnTo>
                    <a:pt x="2361819" y="338328"/>
                  </a:lnTo>
                  <a:lnTo>
                    <a:pt x="2387918" y="207169"/>
                  </a:lnTo>
                  <a:lnTo>
                    <a:pt x="2453069" y="207169"/>
                  </a:lnTo>
                  <a:cubicBezTo>
                    <a:pt x="2534317" y="207169"/>
                    <a:pt x="2578037" y="149733"/>
                    <a:pt x="2578037" y="89345"/>
                  </a:cubicBezTo>
                  <a:moveTo>
                    <a:pt x="2105501" y="173546"/>
                  </a:moveTo>
                  <a:cubicBezTo>
                    <a:pt x="2105501" y="181165"/>
                    <a:pt x="2104073" y="192596"/>
                    <a:pt x="2101215" y="207740"/>
                  </a:cubicBezTo>
                  <a:cubicBezTo>
                    <a:pt x="2092643" y="252413"/>
                    <a:pt x="2079307" y="275272"/>
                    <a:pt x="2048923" y="275272"/>
                  </a:cubicBezTo>
                  <a:cubicBezTo>
                    <a:pt x="2027111" y="275272"/>
                    <a:pt x="2019490" y="260985"/>
                    <a:pt x="2019490" y="242506"/>
                  </a:cubicBezTo>
                  <a:cubicBezTo>
                    <a:pt x="2019490" y="234887"/>
                    <a:pt x="2020919" y="223456"/>
                    <a:pt x="2023777" y="208312"/>
                  </a:cubicBezTo>
                  <a:cubicBezTo>
                    <a:pt x="2032349" y="163639"/>
                    <a:pt x="2045589" y="140779"/>
                    <a:pt x="2076069" y="140779"/>
                  </a:cubicBezTo>
                  <a:cubicBezTo>
                    <a:pt x="2096072" y="140684"/>
                    <a:pt x="2105501" y="152971"/>
                    <a:pt x="2105501" y="173546"/>
                  </a:cubicBezTo>
                  <a:lnTo>
                    <a:pt x="2105501" y="173546"/>
                  </a:lnTo>
                  <a:close/>
                  <a:moveTo>
                    <a:pt x="2183035" y="90773"/>
                  </a:moveTo>
                  <a:lnTo>
                    <a:pt x="2125980" y="90773"/>
                  </a:lnTo>
                  <a:lnTo>
                    <a:pt x="2121218" y="115919"/>
                  </a:lnTo>
                  <a:cubicBezTo>
                    <a:pt x="2109788" y="97346"/>
                    <a:pt x="2090833" y="87821"/>
                    <a:pt x="2065115" y="87821"/>
                  </a:cubicBezTo>
                  <a:cubicBezTo>
                    <a:pt x="2042827" y="87821"/>
                    <a:pt x="2020443" y="94012"/>
                    <a:pt x="2001964" y="112490"/>
                  </a:cubicBezTo>
                  <a:cubicBezTo>
                    <a:pt x="1983010" y="131445"/>
                    <a:pt x="1973485" y="160020"/>
                    <a:pt x="1964912" y="207550"/>
                  </a:cubicBezTo>
                  <a:cubicBezTo>
                    <a:pt x="1961102" y="228505"/>
                    <a:pt x="1958721" y="246031"/>
                    <a:pt x="1958721" y="257937"/>
                  </a:cubicBezTo>
                  <a:cubicBezTo>
                    <a:pt x="1958721" y="304514"/>
                    <a:pt x="1990535" y="327755"/>
                    <a:pt x="2027111" y="327755"/>
                  </a:cubicBezTo>
                  <a:cubicBezTo>
                    <a:pt x="2051876" y="327755"/>
                    <a:pt x="2069402" y="318230"/>
                    <a:pt x="2082260" y="303086"/>
                  </a:cubicBezTo>
                  <a:lnTo>
                    <a:pt x="2077022" y="328231"/>
                  </a:lnTo>
                  <a:cubicBezTo>
                    <a:pt x="2070354" y="360140"/>
                    <a:pt x="2049494" y="381953"/>
                    <a:pt x="2016633" y="381953"/>
                  </a:cubicBezTo>
                  <a:cubicBezTo>
                    <a:pt x="1993392" y="381953"/>
                    <a:pt x="1982914" y="370999"/>
                    <a:pt x="1975295" y="362426"/>
                  </a:cubicBezTo>
                  <a:lnTo>
                    <a:pt x="1934432" y="398050"/>
                  </a:lnTo>
                  <a:cubicBezTo>
                    <a:pt x="1955387" y="421767"/>
                    <a:pt x="1980533" y="431768"/>
                    <a:pt x="2016633" y="431768"/>
                  </a:cubicBezTo>
                  <a:cubicBezTo>
                    <a:pt x="2073688" y="431768"/>
                    <a:pt x="2121218" y="400907"/>
                    <a:pt x="2135505" y="328613"/>
                  </a:cubicBezTo>
                  <a:lnTo>
                    <a:pt x="2183035" y="90773"/>
                  </a:lnTo>
                  <a:close/>
                  <a:moveTo>
                    <a:pt x="1924431" y="156305"/>
                  </a:moveTo>
                  <a:cubicBezTo>
                    <a:pt x="1924431" y="107347"/>
                    <a:pt x="1890236" y="87916"/>
                    <a:pt x="1861280" y="87916"/>
                  </a:cubicBezTo>
                  <a:cubicBezTo>
                    <a:pt x="1835563" y="87916"/>
                    <a:pt x="1811846" y="97441"/>
                    <a:pt x="1796129" y="114490"/>
                  </a:cubicBezTo>
                  <a:lnTo>
                    <a:pt x="1800415" y="90773"/>
                  </a:lnTo>
                  <a:lnTo>
                    <a:pt x="1743837" y="90773"/>
                  </a:lnTo>
                  <a:lnTo>
                    <a:pt x="1694402" y="338328"/>
                  </a:lnTo>
                  <a:lnTo>
                    <a:pt x="1753362" y="338328"/>
                  </a:lnTo>
                  <a:lnTo>
                    <a:pt x="1783747" y="188119"/>
                  </a:lnTo>
                  <a:cubicBezTo>
                    <a:pt x="1791367" y="149066"/>
                    <a:pt x="1816989" y="140589"/>
                    <a:pt x="1834134" y="140589"/>
                  </a:cubicBezTo>
                  <a:cubicBezTo>
                    <a:pt x="1849374" y="140589"/>
                    <a:pt x="1863566" y="150114"/>
                    <a:pt x="1863566" y="171450"/>
                  </a:cubicBezTo>
                  <a:cubicBezTo>
                    <a:pt x="1863566" y="176213"/>
                    <a:pt x="1862614" y="181928"/>
                    <a:pt x="1861661" y="187642"/>
                  </a:cubicBezTo>
                  <a:lnTo>
                    <a:pt x="1831277" y="338328"/>
                  </a:lnTo>
                  <a:lnTo>
                    <a:pt x="1890141" y="338328"/>
                  </a:lnTo>
                  <a:lnTo>
                    <a:pt x="1921002" y="183832"/>
                  </a:lnTo>
                  <a:cubicBezTo>
                    <a:pt x="1923002" y="175831"/>
                    <a:pt x="1924431" y="165354"/>
                    <a:pt x="1924431" y="156305"/>
                  </a:cubicBezTo>
                  <a:moveTo>
                    <a:pt x="1702022" y="953"/>
                  </a:moveTo>
                  <a:lnTo>
                    <a:pt x="1641157" y="953"/>
                  </a:lnTo>
                  <a:lnTo>
                    <a:pt x="1631632" y="49816"/>
                  </a:lnTo>
                  <a:lnTo>
                    <a:pt x="1692021" y="49816"/>
                  </a:lnTo>
                  <a:lnTo>
                    <a:pt x="1702022" y="953"/>
                  </a:lnTo>
                  <a:close/>
                  <a:moveTo>
                    <a:pt x="1682115" y="98393"/>
                  </a:moveTo>
                  <a:lnTo>
                    <a:pt x="1623155" y="98393"/>
                  </a:lnTo>
                  <a:lnTo>
                    <a:pt x="1575149" y="338423"/>
                  </a:lnTo>
                  <a:lnTo>
                    <a:pt x="1634109" y="338423"/>
                  </a:lnTo>
                  <a:lnTo>
                    <a:pt x="1682115" y="98393"/>
                  </a:lnTo>
                  <a:close/>
                  <a:moveTo>
                    <a:pt x="1592199" y="111252"/>
                  </a:moveTo>
                  <a:cubicBezTo>
                    <a:pt x="1578864" y="95536"/>
                    <a:pt x="1563243" y="88011"/>
                    <a:pt x="1539431" y="88011"/>
                  </a:cubicBezTo>
                  <a:cubicBezTo>
                    <a:pt x="1513713" y="88011"/>
                    <a:pt x="1490472" y="98488"/>
                    <a:pt x="1476661" y="115062"/>
                  </a:cubicBezTo>
                  <a:lnTo>
                    <a:pt x="1481900" y="90869"/>
                  </a:lnTo>
                  <a:lnTo>
                    <a:pt x="1424845" y="90869"/>
                  </a:lnTo>
                  <a:lnTo>
                    <a:pt x="1375410" y="338423"/>
                  </a:lnTo>
                  <a:lnTo>
                    <a:pt x="1434370" y="338423"/>
                  </a:lnTo>
                  <a:lnTo>
                    <a:pt x="1464278" y="188690"/>
                  </a:lnTo>
                  <a:cubicBezTo>
                    <a:pt x="1469993" y="160115"/>
                    <a:pt x="1490853" y="141161"/>
                    <a:pt x="1514189" y="141161"/>
                  </a:cubicBezTo>
                  <a:cubicBezTo>
                    <a:pt x="1527048" y="141161"/>
                    <a:pt x="1535144" y="148304"/>
                    <a:pt x="1541240" y="156400"/>
                  </a:cubicBezTo>
                  <a:lnTo>
                    <a:pt x="1592199" y="111252"/>
                  </a:lnTo>
                  <a:close/>
                  <a:moveTo>
                    <a:pt x="1298067" y="176308"/>
                  </a:moveTo>
                  <a:cubicBezTo>
                    <a:pt x="1298067" y="181546"/>
                    <a:pt x="1297591" y="187738"/>
                    <a:pt x="1296638" y="192977"/>
                  </a:cubicBezTo>
                  <a:lnTo>
                    <a:pt x="1205770" y="192977"/>
                  </a:lnTo>
                  <a:cubicBezTo>
                    <a:pt x="1216724" y="152495"/>
                    <a:pt x="1237679" y="136303"/>
                    <a:pt x="1262825" y="136303"/>
                  </a:cubicBezTo>
                  <a:cubicBezTo>
                    <a:pt x="1283780" y="136398"/>
                    <a:pt x="1298067" y="150209"/>
                    <a:pt x="1298067" y="176308"/>
                  </a:cubicBezTo>
                  <a:moveTo>
                    <a:pt x="1354074" y="176308"/>
                  </a:moveTo>
                  <a:cubicBezTo>
                    <a:pt x="1354074" y="122587"/>
                    <a:pt x="1318451" y="87916"/>
                    <a:pt x="1266158" y="87916"/>
                  </a:cubicBezTo>
                  <a:cubicBezTo>
                    <a:pt x="1180529" y="87916"/>
                    <a:pt x="1140238" y="171069"/>
                    <a:pt x="1140238" y="254222"/>
                  </a:cubicBezTo>
                  <a:cubicBezTo>
                    <a:pt x="1140238" y="319373"/>
                    <a:pt x="1189101" y="341186"/>
                    <a:pt x="1231964" y="341186"/>
                  </a:cubicBezTo>
                  <a:cubicBezTo>
                    <a:pt x="1269111" y="341186"/>
                    <a:pt x="1302830" y="328803"/>
                    <a:pt x="1328452" y="305086"/>
                  </a:cubicBezTo>
                  <a:lnTo>
                    <a:pt x="1297591" y="266129"/>
                  </a:lnTo>
                  <a:cubicBezTo>
                    <a:pt x="1280446" y="282797"/>
                    <a:pt x="1262348" y="291370"/>
                    <a:pt x="1238631" y="291370"/>
                  </a:cubicBezTo>
                  <a:cubicBezTo>
                    <a:pt x="1210056" y="291370"/>
                    <a:pt x="1196340" y="274225"/>
                    <a:pt x="1196340" y="249936"/>
                  </a:cubicBezTo>
                  <a:cubicBezTo>
                    <a:pt x="1196340" y="244221"/>
                    <a:pt x="1197293" y="238030"/>
                    <a:pt x="1198245" y="232315"/>
                  </a:cubicBezTo>
                  <a:lnTo>
                    <a:pt x="1346549" y="232315"/>
                  </a:lnTo>
                  <a:cubicBezTo>
                    <a:pt x="1350740" y="213360"/>
                    <a:pt x="1354074" y="192977"/>
                    <a:pt x="1354074" y="176308"/>
                  </a:cubicBezTo>
                  <a:moveTo>
                    <a:pt x="1054227" y="176308"/>
                  </a:moveTo>
                  <a:cubicBezTo>
                    <a:pt x="1054227" y="181546"/>
                    <a:pt x="1053751" y="187738"/>
                    <a:pt x="1052798" y="192977"/>
                  </a:cubicBezTo>
                  <a:lnTo>
                    <a:pt x="961930" y="192977"/>
                  </a:lnTo>
                  <a:cubicBezTo>
                    <a:pt x="972884" y="152495"/>
                    <a:pt x="993838" y="136303"/>
                    <a:pt x="1018984" y="136303"/>
                  </a:cubicBezTo>
                  <a:cubicBezTo>
                    <a:pt x="1039940" y="136398"/>
                    <a:pt x="1054227" y="150209"/>
                    <a:pt x="1054227" y="176308"/>
                  </a:cubicBezTo>
                  <a:moveTo>
                    <a:pt x="1110234" y="176308"/>
                  </a:moveTo>
                  <a:cubicBezTo>
                    <a:pt x="1110234" y="122587"/>
                    <a:pt x="1074611" y="87916"/>
                    <a:pt x="1022318" y="87916"/>
                  </a:cubicBezTo>
                  <a:cubicBezTo>
                    <a:pt x="936688" y="87916"/>
                    <a:pt x="896398" y="171069"/>
                    <a:pt x="896398" y="254222"/>
                  </a:cubicBezTo>
                  <a:cubicBezTo>
                    <a:pt x="896398" y="319373"/>
                    <a:pt x="945261" y="341186"/>
                    <a:pt x="988124" y="341186"/>
                  </a:cubicBezTo>
                  <a:cubicBezTo>
                    <a:pt x="1025176" y="341186"/>
                    <a:pt x="1058990" y="328803"/>
                    <a:pt x="1084612" y="305086"/>
                  </a:cubicBezTo>
                  <a:lnTo>
                    <a:pt x="1053751" y="266129"/>
                  </a:lnTo>
                  <a:cubicBezTo>
                    <a:pt x="1036606" y="282797"/>
                    <a:pt x="1018604" y="291370"/>
                    <a:pt x="994791" y="291370"/>
                  </a:cubicBezTo>
                  <a:cubicBezTo>
                    <a:pt x="966216" y="291370"/>
                    <a:pt x="952500" y="274225"/>
                    <a:pt x="952500" y="249936"/>
                  </a:cubicBezTo>
                  <a:cubicBezTo>
                    <a:pt x="952500" y="244221"/>
                    <a:pt x="953453" y="238030"/>
                    <a:pt x="954405" y="232315"/>
                  </a:cubicBezTo>
                  <a:lnTo>
                    <a:pt x="1102709" y="232315"/>
                  </a:lnTo>
                  <a:cubicBezTo>
                    <a:pt x="1106900" y="213360"/>
                    <a:pt x="1110234" y="192977"/>
                    <a:pt x="1110234" y="176308"/>
                  </a:cubicBezTo>
                  <a:moveTo>
                    <a:pt x="863537" y="156305"/>
                  </a:moveTo>
                  <a:cubicBezTo>
                    <a:pt x="863537" y="107347"/>
                    <a:pt x="829342" y="87916"/>
                    <a:pt x="800386" y="87916"/>
                  </a:cubicBezTo>
                  <a:cubicBezTo>
                    <a:pt x="774763" y="87916"/>
                    <a:pt x="750951" y="97441"/>
                    <a:pt x="735235" y="114490"/>
                  </a:cubicBezTo>
                  <a:lnTo>
                    <a:pt x="739521" y="90773"/>
                  </a:lnTo>
                  <a:lnTo>
                    <a:pt x="682943" y="90773"/>
                  </a:lnTo>
                  <a:lnTo>
                    <a:pt x="633508" y="338328"/>
                  </a:lnTo>
                  <a:lnTo>
                    <a:pt x="692468" y="338328"/>
                  </a:lnTo>
                  <a:lnTo>
                    <a:pt x="722852" y="188119"/>
                  </a:lnTo>
                  <a:cubicBezTo>
                    <a:pt x="730472" y="149066"/>
                    <a:pt x="756095" y="140589"/>
                    <a:pt x="773240" y="140589"/>
                  </a:cubicBezTo>
                  <a:cubicBezTo>
                    <a:pt x="788480" y="140589"/>
                    <a:pt x="802672" y="150114"/>
                    <a:pt x="802672" y="171450"/>
                  </a:cubicBezTo>
                  <a:cubicBezTo>
                    <a:pt x="802672" y="176213"/>
                    <a:pt x="801719" y="181928"/>
                    <a:pt x="800767" y="187642"/>
                  </a:cubicBezTo>
                  <a:lnTo>
                    <a:pt x="770382" y="338328"/>
                  </a:lnTo>
                  <a:lnTo>
                    <a:pt x="829247" y="338328"/>
                  </a:lnTo>
                  <a:lnTo>
                    <a:pt x="860108" y="183832"/>
                  </a:lnTo>
                  <a:cubicBezTo>
                    <a:pt x="862108" y="175831"/>
                    <a:pt x="863537" y="165354"/>
                    <a:pt x="863537" y="156305"/>
                  </a:cubicBezTo>
                  <a:moveTo>
                    <a:pt x="553688" y="176308"/>
                  </a:moveTo>
                  <a:cubicBezTo>
                    <a:pt x="553688" y="181546"/>
                    <a:pt x="552736" y="193453"/>
                    <a:pt x="548450" y="214313"/>
                  </a:cubicBezTo>
                  <a:cubicBezTo>
                    <a:pt x="542734" y="245269"/>
                    <a:pt x="535115" y="264700"/>
                    <a:pt x="523208" y="276130"/>
                  </a:cubicBezTo>
                  <a:cubicBezTo>
                    <a:pt x="515588" y="283750"/>
                    <a:pt x="505111" y="288512"/>
                    <a:pt x="492824" y="288512"/>
                  </a:cubicBezTo>
                  <a:cubicBezTo>
                    <a:pt x="474250" y="288512"/>
                    <a:pt x="461391" y="276606"/>
                    <a:pt x="461391" y="252889"/>
                  </a:cubicBezTo>
                  <a:cubicBezTo>
                    <a:pt x="461391" y="247174"/>
                    <a:pt x="462344" y="235744"/>
                    <a:pt x="466630" y="214408"/>
                  </a:cubicBezTo>
                  <a:cubicBezTo>
                    <a:pt x="472821" y="184023"/>
                    <a:pt x="479965" y="164497"/>
                    <a:pt x="491871" y="153067"/>
                  </a:cubicBezTo>
                  <a:cubicBezTo>
                    <a:pt x="499491" y="145447"/>
                    <a:pt x="510445" y="140684"/>
                    <a:pt x="522351" y="140684"/>
                  </a:cubicBezTo>
                  <a:cubicBezTo>
                    <a:pt x="540925" y="140684"/>
                    <a:pt x="553688" y="152019"/>
                    <a:pt x="553688" y="176308"/>
                  </a:cubicBezTo>
                  <a:moveTo>
                    <a:pt x="612172" y="169640"/>
                  </a:moveTo>
                  <a:cubicBezTo>
                    <a:pt x="612172" y="112586"/>
                    <a:pt x="569881" y="87916"/>
                    <a:pt x="528542" y="87916"/>
                  </a:cubicBezTo>
                  <a:cubicBezTo>
                    <a:pt x="497110" y="87916"/>
                    <a:pt x="471011" y="98393"/>
                    <a:pt x="452438" y="116396"/>
                  </a:cubicBezTo>
                  <a:cubicBezTo>
                    <a:pt x="430625" y="137255"/>
                    <a:pt x="418719" y="162496"/>
                    <a:pt x="408242" y="214313"/>
                  </a:cubicBezTo>
                  <a:cubicBezTo>
                    <a:pt x="405860" y="225742"/>
                    <a:pt x="403003" y="244316"/>
                    <a:pt x="403003" y="259461"/>
                  </a:cubicBezTo>
                  <a:cubicBezTo>
                    <a:pt x="403003" y="316516"/>
                    <a:pt x="445294" y="341186"/>
                    <a:pt x="487109" y="341186"/>
                  </a:cubicBezTo>
                  <a:cubicBezTo>
                    <a:pt x="518541" y="341186"/>
                    <a:pt x="544163" y="330708"/>
                    <a:pt x="563213" y="312706"/>
                  </a:cubicBezTo>
                  <a:cubicBezTo>
                    <a:pt x="584549" y="291846"/>
                    <a:pt x="596932" y="266605"/>
                    <a:pt x="607409" y="214313"/>
                  </a:cubicBezTo>
                  <a:cubicBezTo>
                    <a:pt x="609314" y="203454"/>
                    <a:pt x="612172" y="184880"/>
                    <a:pt x="612172" y="169640"/>
                  </a:cubicBezTo>
                  <a:moveTo>
                    <a:pt x="401098" y="953"/>
                  </a:moveTo>
                  <a:lnTo>
                    <a:pt x="340233" y="953"/>
                  </a:lnTo>
                  <a:lnTo>
                    <a:pt x="330708" y="49816"/>
                  </a:lnTo>
                  <a:lnTo>
                    <a:pt x="391096" y="49816"/>
                  </a:lnTo>
                  <a:lnTo>
                    <a:pt x="401098" y="953"/>
                  </a:lnTo>
                  <a:close/>
                  <a:moveTo>
                    <a:pt x="381191" y="98393"/>
                  </a:moveTo>
                  <a:lnTo>
                    <a:pt x="322231" y="98393"/>
                  </a:lnTo>
                  <a:lnTo>
                    <a:pt x="274225" y="338423"/>
                  </a:lnTo>
                  <a:lnTo>
                    <a:pt x="333184" y="338423"/>
                  </a:lnTo>
                  <a:lnTo>
                    <a:pt x="381191" y="98393"/>
                  </a:lnTo>
                  <a:close/>
                  <a:moveTo>
                    <a:pt x="215741" y="94583"/>
                  </a:moveTo>
                  <a:cubicBezTo>
                    <a:pt x="215741" y="120301"/>
                    <a:pt x="197167" y="151638"/>
                    <a:pt x="156305" y="151638"/>
                  </a:cubicBezTo>
                  <a:lnTo>
                    <a:pt x="100203" y="151638"/>
                  </a:lnTo>
                  <a:lnTo>
                    <a:pt x="119729" y="55531"/>
                  </a:lnTo>
                  <a:lnTo>
                    <a:pt x="177737" y="55531"/>
                  </a:lnTo>
                  <a:cubicBezTo>
                    <a:pt x="205835" y="55531"/>
                    <a:pt x="215741" y="73152"/>
                    <a:pt x="215741" y="94583"/>
                  </a:cubicBezTo>
                  <a:moveTo>
                    <a:pt x="278987" y="89345"/>
                  </a:moveTo>
                  <a:cubicBezTo>
                    <a:pt x="278987" y="36576"/>
                    <a:pt x="245745" y="0"/>
                    <a:pt x="188214" y="0"/>
                  </a:cubicBezTo>
                  <a:lnTo>
                    <a:pt x="68008" y="0"/>
                  </a:lnTo>
                  <a:lnTo>
                    <a:pt x="0" y="338328"/>
                  </a:lnTo>
                  <a:lnTo>
                    <a:pt x="62770" y="338328"/>
                  </a:lnTo>
                  <a:lnTo>
                    <a:pt x="88868" y="207169"/>
                  </a:lnTo>
                  <a:lnTo>
                    <a:pt x="154019" y="207169"/>
                  </a:lnTo>
                  <a:cubicBezTo>
                    <a:pt x="235267" y="207169"/>
                    <a:pt x="278987" y="149733"/>
                    <a:pt x="278987" y="89345"/>
                  </a:cubicBezTo>
                </a:path>
              </a:pathLst>
            </a:custGeom>
            <a:solidFill>
              <a:srgbClr val="FF83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D4193EF5-4CF0-44D6-8690-C5075BFE81F1}"/>
                </a:ext>
              </a:extLst>
            </p:cNvPr>
            <p:cNvGrpSpPr/>
            <p:nvPr/>
          </p:nvGrpSpPr>
          <p:grpSpPr>
            <a:xfrm>
              <a:off x="9237264" y="1690722"/>
              <a:ext cx="2576929" cy="342865"/>
              <a:chOff x="7825183" y="3513172"/>
              <a:chExt cx="2540191" cy="337977"/>
            </a:xfrm>
            <a:solidFill>
              <a:schemeClr val="bg1"/>
            </a:solidFill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F62F2684-4B67-4AB3-8952-A2C96D5CF23D}"/>
                  </a:ext>
                </a:extLst>
              </p:cNvPr>
              <p:cNvSpPr/>
              <p:nvPr/>
            </p:nvSpPr>
            <p:spPr>
              <a:xfrm>
                <a:off x="8092635" y="3606967"/>
                <a:ext cx="158000" cy="229819"/>
              </a:xfrm>
              <a:custGeom>
                <a:avLst/>
                <a:gdLst>
                  <a:gd name="connsiteX0" fmla="*/ 105061 w 104775"/>
                  <a:gd name="connsiteY0" fmla="*/ 0 h 152400"/>
                  <a:gd name="connsiteX1" fmla="*/ 110204 w 104775"/>
                  <a:gd name="connsiteY1" fmla="*/ 381 h 152400"/>
                  <a:gd name="connsiteX2" fmla="*/ 102680 w 104775"/>
                  <a:gd name="connsiteY2" fmla="*/ 37719 h 152400"/>
                  <a:gd name="connsiteX3" fmla="*/ 88868 w 104775"/>
                  <a:gd name="connsiteY3" fmla="*/ 34957 h 152400"/>
                  <a:gd name="connsiteX4" fmla="*/ 56769 w 104775"/>
                  <a:gd name="connsiteY4" fmla="*/ 64770 h 152400"/>
                  <a:gd name="connsiteX5" fmla="*/ 37910 w 104775"/>
                  <a:gd name="connsiteY5" fmla="*/ 159448 h 152400"/>
                  <a:gd name="connsiteX6" fmla="*/ 0 w 104775"/>
                  <a:gd name="connsiteY6" fmla="*/ 159448 h 152400"/>
                  <a:gd name="connsiteX7" fmla="*/ 31147 w 104775"/>
                  <a:gd name="connsiteY7" fmla="*/ 3429 h 152400"/>
                  <a:gd name="connsiteX8" fmla="*/ 67818 w 104775"/>
                  <a:gd name="connsiteY8" fmla="*/ 3429 h 152400"/>
                  <a:gd name="connsiteX9" fmla="*/ 64770 w 104775"/>
                  <a:gd name="connsiteY9" fmla="*/ 17526 h 152400"/>
                  <a:gd name="connsiteX10" fmla="*/ 105061 w 104775"/>
                  <a:gd name="connsiteY10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4775" h="152400">
                    <a:moveTo>
                      <a:pt x="105061" y="0"/>
                    </a:moveTo>
                    <a:cubicBezTo>
                      <a:pt x="106775" y="0"/>
                      <a:pt x="108966" y="190"/>
                      <a:pt x="110204" y="381"/>
                    </a:cubicBezTo>
                    <a:lnTo>
                      <a:pt x="102680" y="37719"/>
                    </a:lnTo>
                    <a:cubicBezTo>
                      <a:pt x="98107" y="35719"/>
                      <a:pt x="92964" y="34957"/>
                      <a:pt x="88868" y="34957"/>
                    </a:cubicBezTo>
                    <a:cubicBezTo>
                      <a:pt x="73914" y="34957"/>
                      <a:pt x="60484" y="46482"/>
                      <a:pt x="56769" y="64770"/>
                    </a:cubicBezTo>
                    <a:lnTo>
                      <a:pt x="37910" y="159448"/>
                    </a:lnTo>
                    <a:lnTo>
                      <a:pt x="0" y="159448"/>
                    </a:lnTo>
                    <a:lnTo>
                      <a:pt x="31147" y="3429"/>
                    </a:lnTo>
                    <a:lnTo>
                      <a:pt x="67818" y="3429"/>
                    </a:lnTo>
                    <a:lnTo>
                      <a:pt x="64770" y="17526"/>
                    </a:lnTo>
                    <a:cubicBezTo>
                      <a:pt x="73629" y="6763"/>
                      <a:pt x="88582" y="0"/>
                      <a:pt x="105061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331225DC-3560-4B65-A6B1-30A92A68A8D9}"/>
                  </a:ext>
                </a:extLst>
              </p:cNvPr>
              <p:cNvSpPr/>
              <p:nvPr/>
            </p:nvSpPr>
            <p:spPr>
              <a:xfrm>
                <a:off x="8484763" y="3612137"/>
                <a:ext cx="215455" cy="229819"/>
              </a:xfrm>
              <a:custGeom>
                <a:avLst/>
                <a:gdLst>
                  <a:gd name="connsiteX0" fmla="*/ 149066 w 142875"/>
                  <a:gd name="connsiteY0" fmla="*/ 0 h 152400"/>
                  <a:gd name="connsiteX1" fmla="*/ 118206 w 142875"/>
                  <a:gd name="connsiteY1" fmla="*/ 156020 h 152400"/>
                  <a:gd name="connsiteX2" fmla="*/ 81820 w 142875"/>
                  <a:gd name="connsiteY2" fmla="*/ 156020 h 152400"/>
                  <a:gd name="connsiteX3" fmla="*/ 84297 w 142875"/>
                  <a:gd name="connsiteY3" fmla="*/ 142399 h 152400"/>
                  <a:gd name="connsiteX4" fmla="*/ 40672 w 142875"/>
                  <a:gd name="connsiteY4" fmla="*/ 159449 h 152400"/>
                  <a:gd name="connsiteX5" fmla="*/ 0 w 142875"/>
                  <a:gd name="connsiteY5" fmla="*/ 115157 h 152400"/>
                  <a:gd name="connsiteX6" fmla="*/ 1810 w 142875"/>
                  <a:gd name="connsiteY6" fmla="*/ 97727 h 152400"/>
                  <a:gd name="connsiteX7" fmla="*/ 21336 w 142875"/>
                  <a:gd name="connsiteY7" fmla="*/ 0 h 152400"/>
                  <a:gd name="connsiteX8" fmla="*/ 59246 w 142875"/>
                  <a:gd name="connsiteY8" fmla="*/ 0 h 152400"/>
                  <a:gd name="connsiteX9" fmla="*/ 40291 w 142875"/>
                  <a:gd name="connsiteY9" fmla="*/ 95345 h 152400"/>
                  <a:gd name="connsiteX10" fmla="*/ 39053 w 142875"/>
                  <a:gd name="connsiteY10" fmla="*/ 105728 h 152400"/>
                  <a:gd name="connsiteX11" fmla="*/ 58008 w 142875"/>
                  <a:gd name="connsiteY11" fmla="*/ 125635 h 152400"/>
                  <a:gd name="connsiteX12" fmla="*/ 92107 w 142875"/>
                  <a:gd name="connsiteY12" fmla="*/ 95060 h 152400"/>
                  <a:gd name="connsiteX13" fmla="*/ 110966 w 142875"/>
                  <a:gd name="connsiteY13" fmla="*/ 95 h 152400"/>
                  <a:gd name="connsiteX14" fmla="*/ 149066 w 142875"/>
                  <a:gd name="connsiteY14" fmla="*/ 9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2875" h="152400">
                    <a:moveTo>
                      <a:pt x="149066" y="0"/>
                    </a:moveTo>
                    <a:lnTo>
                      <a:pt x="118206" y="156020"/>
                    </a:lnTo>
                    <a:lnTo>
                      <a:pt x="81820" y="156020"/>
                    </a:lnTo>
                    <a:lnTo>
                      <a:pt x="84297" y="142399"/>
                    </a:lnTo>
                    <a:cubicBezTo>
                      <a:pt x="73914" y="153067"/>
                      <a:pt x="57150" y="159449"/>
                      <a:pt x="40672" y="159449"/>
                    </a:cubicBezTo>
                    <a:cubicBezTo>
                      <a:pt x="22003" y="159449"/>
                      <a:pt x="0" y="146971"/>
                      <a:pt x="0" y="115157"/>
                    </a:cubicBezTo>
                    <a:cubicBezTo>
                      <a:pt x="0" y="108776"/>
                      <a:pt x="953" y="102965"/>
                      <a:pt x="1810" y="97727"/>
                    </a:cubicBezTo>
                    <a:lnTo>
                      <a:pt x="21336" y="0"/>
                    </a:lnTo>
                    <a:lnTo>
                      <a:pt x="59246" y="0"/>
                    </a:lnTo>
                    <a:lnTo>
                      <a:pt x="40291" y="95345"/>
                    </a:lnTo>
                    <a:cubicBezTo>
                      <a:pt x="39720" y="98679"/>
                      <a:pt x="39053" y="102679"/>
                      <a:pt x="39053" y="105728"/>
                    </a:cubicBezTo>
                    <a:cubicBezTo>
                      <a:pt x="39053" y="119444"/>
                      <a:pt x="48578" y="125635"/>
                      <a:pt x="58008" y="125635"/>
                    </a:cubicBezTo>
                    <a:cubicBezTo>
                      <a:pt x="68675" y="125635"/>
                      <a:pt x="87249" y="120110"/>
                      <a:pt x="92107" y="95060"/>
                    </a:cubicBezTo>
                    <a:lnTo>
                      <a:pt x="110966" y="95"/>
                    </a:lnTo>
                    <a:lnTo>
                      <a:pt x="149066" y="9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024737E8-D7EC-414C-BC62-5CFBE817AADD}"/>
                  </a:ext>
                </a:extLst>
              </p:cNvPr>
              <p:cNvSpPr/>
              <p:nvPr/>
            </p:nvSpPr>
            <p:spPr>
              <a:xfrm>
                <a:off x="8930181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8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8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586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3" y="130588"/>
                      <a:pt x="56198" y="130588"/>
                    </a:cubicBezTo>
                    <a:cubicBezTo>
                      <a:pt x="77914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72ECEFA3-7140-43D8-B570-3CCD1A206AE1}"/>
                  </a:ext>
                </a:extLst>
              </p:cNvPr>
              <p:cNvSpPr/>
              <p:nvPr/>
            </p:nvSpPr>
            <p:spPr>
              <a:xfrm>
                <a:off x="10307919" y="3513172"/>
                <a:ext cx="57455" cy="57455"/>
              </a:xfrm>
              <a:custGeom>
                <a:avLst/>
                <a:gdLst>
                  <a:gd name="connsiteX0" fmla="*/ 23639 w 38100"/>
                  <a:gd name="connsiteY0" fmla="*/ 0 h 38100"/>
                  <a:gd name="connsiteX1" fmla="*/ 17 w 38100"/>
                  <a:gd name="connsiteY1" fmla="*/ 22670 h 38100"/>
                  <a:gd name="connsiteX2" fmla="*/ 21829 w 38100"/>
                  <a:gd name="connsiteY2" fmla="*/ 45339 h 38100"/>
                  <a:gd name="connsiteX3" fmla="*/ 45355 w 38100"/>
                  <a:gd name="connsiteY3" fmla="*/ 22670 h 38100"/>
                  <a:gd name="connsiteX4" fmla="*/ 23639 w 38100"/>
                  <a:gd name="connsiteY4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23639" y="0"/>
                    </a:moveTo>
                    <a:cubicBezTo>
                      <a:pt x="11161" y="0"/>
                      <a:pt x="493" y="10192"/>
                      <a:pt x="17" y="22670"/>
                    </a:cubicBezTo>
                    <a:cubicBezTo>
                      <a:pt x="-460" y="35242"/>
                      <a:pt x="9256" y="45339"/>
                      <a:pt x="21829" y="45339"/>
                    </a:cubicBezTo>
                    <a:cubicBezTo>
                      <a:pt x="34307" y="45339"/>
                      <a:pt x="44879" y="35147"/>
                      <a:pt x="45355" y="22670"/>
                    </a:cubicBezTo>
                    <a:cubicBezTo>
                      <a:pt x="45927" y="10096"/>
                      <a:pt x="36212" y="0"/>
                      <a:pt x="23639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4ADDC45-980A-4678-9089-31CEACF90EFC}"/>
                  </a:ext>
                </a:extLst>
              </p:cNvPr>
              <p:cNvSpPr/>
              <p:nvPr/>
            </p:nvSpPr>
            <p:spPr>
              <a:xfrm>
                <a:off x="10030007" y="3606249"/>
                <a:ext cx="201091" cy="244182"/>
              </a:xfrm>
              <a:custGeom>
                <a:avLst/>
                <a:gdLst>
                  <a:gd name="connsiteX0" fmla="*/ 78962 w 133350"/>
                  <a:gd name="connsiteY0" fmla="*/ 31242 h 161925"/>
                  <a:gd name="connsiteX1" fmla="*/ 101441 w 133350"/>
                  <a:gd name="connsiteY1" fmla="*/ 57341 h 161925"/>
                  <a:gd name="connsiteX2" fmla="*/ 100679 w 133350"/>
                  <a:gd name="connsiteY2" fmla="*/ 66961 h 161925"/>
                  <a:gd name="connsiteX3" fmla="*/ 42386 w 133350"/>
                  <a:gd name="connsiteY3" fmla="*/ 66961 h 161925"/>
                  <a:gd name="connsiteX4" fmla="*/ 78962 w 133350"/>
                  <a:gd name="connsiteY4" fmla="*/ 31242 h 161925"/>
                  <a:gd name="connsiteX5" fmla="*/ 132493 w 133350"/>
                  <a:gd name="connsiteY5" fmla="*/ 94583 h 161925"/>
                  <a:gd name="connsiteX6" fmla="*/ 137541 w 133350"/>
                  <a:gd name="connsiteY6" fmla="*/ 57341 h 161925"/>
                  <a:gd name="connsiteX7" fmla="*/ 81153 w 133350"/>
                  <a:gd name="connsiteY7" fmla="*/ 0 h 161925"/>
                  <a:gd name="connsiteX8" fmla="*/ 0 w 133350"/>
                  <a:gd name="connsiteY8" fmla="*/ 107442 h 161925"/>
                  <a:gd name="connsiteX9" fmla="*/ 61913 w 133350"/>
                  <a:gd name="connsiteY9" fmla="*/ 163830 h 161925"/>
                  <a:gd name="connsiteX10" fmla="*/ 116205 w 133350"/>
                  <a:gd name="connsiteY10" fmla="*/ 153734 h 161925"/>
                  <a:gd name="connsiteX11" fmla="*/ 123158 w 133350"/>
                  <a:gd name="connsiteY11" fmla="*/ 118967 h 161925"/>
                  <a:gd name="connsiteX12" fmla="*/ 67723 w 133350"/>
                  <a:gd name="connsiteY12" fmla="*/ 131826 h 161925"/>
                  <a:gd name="connsiteX13" fmla="*/ 36005 w 133350"/>
                  <a:gd name="connsiteY13" fmla="*/ 104775 h 161925"/>
                  <a:gd name="connsiteX14" fmla="*/ 37052 w 133350"/>
                  <a:gd name="connsiteY14" fmla="*/ 94583 h 161925"/>
                  <a:gd name="connsiteX15" fmla="*/ 132493 w 133350"/>
                  <a:gd name="connsiteY15" fmla="*/ 94583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3350" h="161925">
                    <a:moveTo>
                      <a:pt x="78962" y="31242"/>
                    </a:moveTo>
                    <a:cubicBezTo>
                      <a:pt x="92678" y="31242"/>
                      <a:pt x="101441" y="40862"/>
                      <a:pt x="101441" y="57341"/>
                    </a:cubicBezTo>
                    <a:cubicBezTo>
                      <a:pt x="101441" y="60389"/>
                      <a:pt x="101155" y="63818"/>
                      <a:pt x="100679" y="66961"/>
                    </a:cubicBezTo>
                    <a:lnTo>
                      <a:pt x="42386" y="66961"/>
                    </a:lnTo>
                    <a:cubicBezTo>
                      <a:pt x="49530" y="42101"/>
                      <a:pt x="62960" y="31242"/>
                      <a:pt x="78962" y="31242"/>
                    </a:cubicBezTo>
                    <a:moveTo>
                      <a:pt x="132493" y="94583"/>
                    </a:moveTo>
                    <a:cubicBezTo>
                      <a:pt x="135255" y="82010"/>
                      <a:pt x="137541" y="68009"/>
                      <a:pt x="137541" y="57341"/>
                    </a:cubicBezTo>
                    <a:cubicBezTo>
                      <a:pt x="137541" y="22765"/>
                      <a:pt x="115062" y="0"/>
                      <a:pt x="81153" y="0"/>
                    </a:cubicBezTo>
                    <a:cubicBezTo>
                      <a:pt x="26384" y="0"/>
                      <a:pt x="0" y="53912"/>
                      <a:pt x="0" y="107442"/>
                    </a:cubicBezTo>
                    <a:cubicBezTo>
                      <a:pt x="0" y="149352"/>
                      <a:pt x="30861" y="163830"/>
                      <a:pt x="61913" y="163830"/>
                    </a:cubicBezTo>
                    <a:cubicBezTo>
                      <a:pt x="85820" y="163830"/>
                      <a:pt x="103441" y="159163"/>
                      <a:pt x="116205" y="153734"/>
                    </a:cubicBezTo>
                    <a:lnTo>
                      <a:pt x="123158" y="118967"/>
                    </a:lnTo>
                    <a:cubicBezTo>
                      <a:pt x="115919" y="122968"/>
                      <a:pt x="97727" y="131826"/>
                      <a:pt x="67723" y="131826"/>
                    </a:cubicBezTo>
                    <a:cubicBezTo>
                      <a:pt x="44387" y="131826"/>
                      <a:pt x="36100" y="120396"/>
                      <a:pt x="36005" y="104775"/>
                    </a:cubicBezTo>
                    <a:cubicBezTo>
                      <a:pt x="36005" y="101156"/>
                      <a:pt x="36481" y="98298"/>
                      <a:pt x="37052" y="94583"/>
                    </a:cubicBezTo>
                    <a:lnTo>
                      <a:pt x="132493" y="945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CDA2F3EE-4750-47EC-B096-6112E7149604}"/>
                  </a:ext>
                </a:extLst>
              </p:cNvPr>
              <p:cNvSpPr/>
              <p:nvPr/>
            </p:nvSpPr>
            <p:spPr>
              <a:xfrm>
                <a:off x="10253506" y="3614579"/>
                <a:ext cx="100546" cy="229819"/>
              </a:xfrm>
              <a:custGeom>
                <a:avLst/>
                <a:gdLst>
                  <a:gd name="connsiteX0" fmla="*/ 68961 w 66675"/>
                  <a:gd name="connsiteY0" fmla="*/ 0 h 152400"/>
                  <a:gd name="connsiteX1" fmla="*/ 37909 w 66675"/>
                  <a:gd name="connsiteY1" fmla="*/ 154400 h 152400"/>
                  <a:gd name="connsiteX2" fmla="*/ 0 w 66675"/>
                  <a:gd name="connsiteY2" fmla="*/ 154400 h 152400"/>
                  <a:gd name="connsiteX3" fmla="*/ 30956 w 66675"/>
                  <a:gd name="connsiteY3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5" h="152400">
                    <a:moveTo>
                      <a:pt x="68961" y="0"/>
                    </a:moveTo>
                    <a:lnTo>
                      <a:pt x="37909" y="154400"/>
                    </a:lnTo>
                    <a:lnTo>
                      <a:pt x="0" y="154400"/>
                    </a:lnTo>
                    <a:lnTo>
                      <a:pt x="3095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D22D98B0-64B2-49DC-8DE7-203DB016FE42}"/>
                  </a:ext>
                </a:extLst>
              </p:cNvPr>
              <p:cNvSpPr/>
              <p:nvPr/>
            </p:nvSpPr>
            <p:spPr>
              <a:xfrm>
                <a:off x="9516362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6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8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7052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7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340 w 133350"/>
                  <a:gd name="connsiteY16" fmla="*/ 162687 h 161925"/>
                  <a:gd name="connsiteX17" fmla="*/ 85820 w 133350"/>
                  <a:gd name="connsiteY17" fmla="*/ 147066 h 161925"/>
                  <a:gd name="connsiteX18" fmla="*/ 83344 w 133350"/>
                  <a:gd name="connsiteY18" fmla="*/ 159544 h 161925"/>
                  <a:gd name="connsiteX19" fmla="*/ 119729 w 133350"/>
                  <a:gd name="connsiteY19" fmla="*/ 159544 h 161925"/>
                  <a:gd name="connsiteX20" fmla="*/ 140018 w 133350"/>
                  <a:gd name="connsiteY20" fmla="*/ 58483 h 161925"/>
                  <a:gd name="connsiteX21" fmla="*/ 141542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964" y="117348"/>
                      <a:pt x="84011" y="122301"/>
                    </a:cubicBezTo>
                    <a:cubicBezTo>
                      <a:pt x="78200" y="128111"/>
                      <a:pt x="69628" y="132112"/>
                      <a:pt x="59246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1" y="88678"/>
                      <a:pt x="65437" y="88678"/>
                    </a:cubicBezTo>
                    <a:lnTo>
                      <a:pt x="96108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7052" y="6001"/>
                    </a:cubicBezTo>
                    <a:lnTo>
                      <a:pt x="30099" y="40291"/>
                    </a:lnTo>
                    <a:cubicBezTo>
                      <a:pt x="39814" y="36195"/>
                      <a:pt x="58103" y="31813"/>
                      <a:pt x="78391" y="31813"/>
                    </a:cubicBezTo>
                    <a:cubicBezTo>
                      <a:pt x="95345" y="31813"/>
                      <a:pt x="103347" y="38195"/>
                      <a:pt x="103347" y="48958"/>
                    </a:cubicBezTo>
                    <a:cubicBezTo>
                      <a:pt x="103347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340" y="162687"/>
                    </a:cubicBezTo>
                    <a:cubicBezTo>
                      <a:pt x="64770" y="162687"/>
                      <a:pt x="76962" y="156020"/>
                      <a:pt x="85820" y="147066"/>
                    </a:cubicBezTo>
                    <a:lnTo>
                      <a:pt x="83344" y="159544"/>
                    </a:lnTo>
                    <a:lnTo>
                      <a:pt x="119729" y="159544"/>
                    </a:lnTo>
                    <a:lnTo>
                      <a:pt x="140018" y="58483"/>
                    </a:lnTo>
                    <a:cubicBezTo>
                      <a:pt x="140875" y="54197"/>
                      <a:pt x="141542" y="48673"/>
                      <a:pt x="141542" y="44387"/>
                    </a:cubicBezTo>
                    <a:cubicBezTo>
                      <a:pt x="141542" y="10478"/>
                      <a:pt x="111729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75702FFD-969F-42B7-B0B1-52D23F079C8F}"/>
                  </a:ext>
                </a:extLst>
              </p:cNvPr>
              <p:cNvSpPr/>
              <p:nvPr/>
            </p:nvSpPr>
            <p:spPr>
              <a:xfrm>
                <a:off x="8719896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9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9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491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4" y="130588"/>
                      <a:pt x="56198" y="130588"/>
                    </a:cubicBezTo>
                    <a:cubicBezTo>
                      <a:pt x="77915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1BD8C39B-76E3-4EF2-9716-AAACDDF4C074}"/>
                  </a:ext>
                </a:extLst>
              </p:cNvPr>
              <p:cNvSpPr/>
              <p:nvPr/>
            </p:nvSpPr>
            <p:spPr>
              <a:xfrm>
                <a:off x="9756954" y="3521790"/>
                <a:ext cx="287273" cy="316001"/>
              </a:xfrm>
              <a:custGeom>
                <a:avLst/>
                <a:gdLst>
                  <a:gd name="connsiteX0" fmla="*/ 12859 w 190500"/>
                  <a:gd name="connsiteY0" fmla="*/ 63246 h 209550"/>
                  <a:gd name="connsiteX1" fmla="*/ 30766 w 190500"/>
                  <a:gd name="connsiteY1" fmla="*/ 63246 h 209550"/>
                  <a:gd name="connsiteX2" fmla="*/ 34671 w 190500"/>
                  <a:gd name="connsiteY2" fmla="*/ 43720 h 209550"/>
                  <a:gd name="connsiteX3" fmla="*/ 86583 w 190500"/>
                  <a:gd name="connsiteY3" fmla="*/ 0 h 209550"/>
                  <a:gd name="connsiteX4" fmla="*/ 108776 w 190500"/>
                  <a:gd name="connsiteY4" fmla="*/ 0 h 209550"/>
                  <a:gd name="connsiteX5" fmla="*/ 102394 w 190500"/>
                  <a:gd name="connsiteY5" fmla="*/ 32099 h 209550"/>
                  <a:gd name="connsiteX6" fmla="*/ 89249 w 190500"/>
                  <a:gd name="connsiteY6" fmla="*/ 32099 h 209550"/>
                  <a:gd name="connsiteX7" fmla="*/ 71819 w 190500"/>
                  <a:gd name="connsiteY7" fmla="*/ 47720 h 209550"/>
                  <a:gd name="connsiteX8" fmla="*/ 68675 w 190500"/>
                  <a:gd name="connsiteY8" fmla="*/ 63341 h 209550"/>
                  <a:gd name="connsiteX9" fmla="*/ 120396 w 190500"/>
                  <a:gd name="connsiteY9" fmla="*/ 63341 h 209550"/>
                  <a:gd name="connsiteX10" fmla="*/ 124301 w 190500"/>
                  <a:gd name="connsiteY10" fmla="*/ 43815 h 209550"/>
                  <a:gd name="connsiteX11" fmla="*/ 176213 w 190500"/>
                  <a:gd name="connsiteY11" fmla="*/ 95 h 209550"/>
                  <a:gd name="connsiteX12" fmla="*/ 198406 w 190500"/>
                  <a:gd name="connsiteY12" fmla="*/ 95 h 209550"/>
                  <a:gd name="connsiteX13" fmla="*/ 191929 w 190500"/>
                  <a:gd name="connsiteY13" fmla="*/ 32194 h 209550"/>
                  <a:gd name="connsiteX14" fmla="*/ 178880 w 190500"/>
                  <a:gd name="connsiteY14" fmla="*/ 32194 h 209550"/>
                  <a:gd name="connsiteX15" fmla="*/ 161449 w 190500"/>
                  <a:gd name="connsiteY15" fmla="*/ 47815 h 209550"/>
                  <a:gd name="connsiteX16" fmla="*/ 158305 w 190500"/>
                  <a:gd name="connsiteY16" fmla="*/ 63437 h 209550"/>
                  <a:gd name="connsiteX17" fmla="*/ 186404 w 190500"/>
                  <a:gd name="connsiteY17" fmla="*/ 63437 h 209550"/>
                  <a:gd name="connsiteX18" fmla="*/ 180594 w 190500"/>
                  <a:gd name="connsiteY18" fmla="*/ 92488 h 209550"/>
                  <a:gd name="connsiteX19" fmla="*/ 152495 w 190500"/>
                  <a:gd name="connsiteY19" fmla="*/ 92488 h 209550"/>
                  <a:gd name="connsiteX20" fmla="*/ 127635 w 190500"/>
                  <a:gd name="connsiteY20" fmla="*/ 216217 h 209550"/>
                  <a:gd name="connsiteX21" fmla="*/ 89726 w 190500"/>
                  <a:gd name="connsiteY21" fmla="*/ 216217 h 209550"/>
                  <a:gd name="connsiteX22" fmla="*/ 114491 w 190500"/>
                  <a:gd name="connsiteY22" fmla="*/ 92488 h 209550"/>
                  <a:gd name="connsiteX23" fmla="*/ 62770 w 190500"/>
                  <a:gd name="connsiteY23" fmla="*/ 92488 h 209550"/>
                  <a:gd name="connsiteX24" fmla="*/ 37910 w 190500"/>
                  <a:gd name="connsiteY24" fmla="*/ 216217 h 209550"/>
                  <a:gd name="connsiteX25" fmla="*/ 0 w 190500"/>
                  <a:gd name="connsiteY25" fmla="*/ 216217 h 209550"/>
                  <a:gd name="connsiteX26" fmla="*/ 24861 w 190500"/>
                  <a:gd name="connsiteY26" fmla="*/ 92488 h 209550"/>
                  <a:gd name="connsiteX27" fmla="*/ 6954 w 190500"/>
                  <a:gd name="connsiteY27" fmla="*/ 92488 h 209550"/>
                  <a:gd name="connsiteX28" fmla="*/ 12859 w 190500"/>
                  <a:gd name="connsiteY28" fmla="*/ 63246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90500" h="209550">
                    <a:moveTo>
                      <a:pt x="12859" y="63246"/>
                    </a:moveTo>
                    <a:lnTo>
                      <a:pt x="30766" y="63246"/>
                    </a:lnTo>
                    <a:lnTo>
                      <a:pt x="34671" y="43720"/>
                    </a:lnTo>
                    <a:cubicBezTo>
                      <a:pt x="40291" y="15907"/>
                      <a:pt x="57245" y="0"/>
                      <a:pt x="86583" y="0"/>
                    </a:cubicBezTo>
                    <a:lnTo>
                      <a:pt x="108776" y="0"/>
                    </a:lnTo>
                    <a:lnTo>
                      <a:pt x="102394" y="32099"/>
                    </a:lnTo>
                    <a:lnTo>
                      <a:pt x="89249" y="32099"/>
                    </a:lnTo>
                    <a:cubicBezTo>
                      <a:pt x="80106" y="32099"/>
                      <a:pt x="74009" y="36957"/>
                      <a:pt x="71819" y="47720"/>
                    </a:cubicBezTo>
                    <a:lnTo>
                      <a:pt x="68675" y="63341"/>
                    </a:lnTo>
                    <a:lnTo>
                      <a:pt x="120396" y="63341"/>
                    </a:lnTo>
                    <a:lnTo>
                      <a:pt x="124301" y="43815"/>
                    </a:lnTo>
                    <a:cubicBezTo>
                      <a:pt x="129826" y="16002"/>
                      <a:pt x="146876" y="95"/>
                      <a:pt x="176213" y="95"/>
                    </a:cubicBezTo>
                    <a:lnTo>
                      <a:pt x="198406" y="95"/>
                    </a:lnTo>
                    <a:lnTo>
                      <a:pt x="191929" y="32194"/>
                    </a:lnTo>
                    <a:lnTo>
                      <a:pt x="178880" y="32194"/>
                    </a:lnTo>
                    <a:cubicBezTo>
                      <a:pt x="169736" y="32194"/>
                      <a:pt x="163545" y="37052"/>
                      <a:pt x="161449" y="47815"/>
                    </a:cubicBezTo>
                    <a:lnTo>
                      <a:pt x="158305" y="63437"/>
                    </a:lnTo>
                    <a:lnTo>
                      <a:pt x="186404" y="63437"/>
                    </a:lnTo>
                    <a:lnTo>
                      <a:pt x="180594" y="92488"/>
                    </a:lnTo>
                    <a:lnTo>
                      <a:pt x="152495" y="92488"/>
                    </a:lnTo>
                    <a:lnTo>
                      <a:pt x="127635" y="216217"/>
                    </a:lnTo>
                    <a:lnTo>
                      <a:pt x="89726" y="216217"/>
                    </a:lnTo>
                    <a:lnTo>
                      <a:pt x="114491" y="92488"/>
                    </a:lnTo>
                    <a:lnTo>
                      <a:pt x="62770" y="92488"/>
                    </a:lnTo>
                    <a:lnTo>
                      <a:pt x="37910" y="216217"/>
                    </a:lnTo>
                    <a:lnTo>
                      <a:pt x="0" y="216217"/>
                    </a:lnTo>
                    <a:lnTo>
                      <a:pt x="24861" y="92488"/>
                    </a:lnTo>
                    <a:lnTo>
                      <a:pt x="6954" y="92488"/>
                    </a:lnTo>
                    <a:lnTo>
                      <a:pt x="12859" y="632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2CC71C47-EABA-47B0-8C7E-9B76E97F0ADB}"/>
                  </a:ext>
                </a:extLst>
              </p:cNvPr>
              <p:cNvSpPr/>
              <p:nvPr/>
            </p:nvSpPr>
            <p:spPr>
              <a:xfrm>
                <a:off x="8239433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5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7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6957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6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244 w 133350"/>
                  <a:gd name="connsiteY16" fmla="*/ 162687 h 161925"/>
                  <a:gd name="connsiteX17" fmla="*/ 85725 w 133350"/>
                  <a:gd name="connsiteY17" fmla="*/ 147066 h 161925"/>
                  <a:gd name="connsiteX18" fmla="*/ 83248 w 133350"/>
                  <a:gd name="connsiteY18" fmla="*/ 159544 h 161925"/>
                  <a:gd name="connsiteX19" fmla="*/ 119634 w 133350"/>
                  <a:gd name="connsiteY19" fmla="*/ 159544 h 161925"/>
                  <a:gd name="connsiteX20" fmla="*/ 139922 w 133350"/>
                  <a:gd name="connsiteY20" fmla="*/ 58483 h 161925"/>
                  <a:gd name="connsiteX21" fmla="*/ 141446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868" y="117348"/>
                      <a:pt x="84011" y="122301"/>
                    </a:cubicBezTo>
                    <a:cubicBezTo>
                      <a:pt x="78200" y="128111"/>
                      <a:pt x="69628" y="132112"/>
                      <a:pt x="59245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0" y="88678"/>
                      <a:pt x="65437" y="88678"/>
                    </a:cubicBezTo>
                    <a:lnTo>
                      <a:pt x="96107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6957" y="6001"/>
                    </a:cubicBezTo>
                    <a:lnTo>
                      <a:pt x="30099" y="40291"/>
                    </a:lnTo>
                    <a:cubicBezTo>
                      <a:pt x="39814" y="36195"/>
                      <a:pt x="58102" y="31813"/>
                      <a:pt x="78391" y="31813"/>
                    </a:cubicBezTo>
                    <a:cubicBezTo>
                      <a:pt x="95345" y="31813"/>
                      <a:pt x="103346" y="38195"/>
                      <a:pt x="103346" y="48958"/>
                    </a:cubicBezTo>
                    <a:cubicBezTo>
                      <a:pt x="103346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244" y="162687"/>
                    </a:cubicBezTo>
                    <a:cubicBezTo>
                      <a:pt x="64675" y="162687"/>
                      <a:pt x="76867" y="156020"/>
                      <a:pt x="85725" y="147066"/>
                    </a:cubicBezTo>
                    <a:lnTo>
                      <a:pt x="83248" y="159544"/>
                    </a:lnTo>
                    <a:lnTo>
                      <a:pt x="119634" y="159544"/>
                    </a:lnTo>
                    <a:lnTo>
                      <a:pt x="139922" y="58483"/>
                    </a:lnTo>
                    <a:cubicBezTo>
                      <a:pt x="140779" y="54197"/>
                      <a:pt x="141446" y="48673"/>
                      <a:pt x="141446" y="44387"/>
                    </a:cubicBezTo>
                    <a:cubicBezTo>
                      <a:pt x="141541" y="10478"/>
                      <a:pt x="111728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E085EAE9-5A74-4BF9-841D-3157ACDF06ED}"/>
                  </a:ext>
                </a:extLst>
              </p:cNvPr>
              <p:cNvSpPr/>
              <p:nvPr/>
            </p:nvSpPr>
            <p:spPr>
              <a:xfrm>
                <a:off x="7825183" y="3521790"/>
                <a:ext cx="301637" cy="316001"/>
              </a:xfrm>
              <a:custGeom>
                <a:avLst/>
                <a:gdLst>
                  <a:gd name="connsiteX0" fmla="*/ 65341 w 200025"/>
                  <a:gd name="connsiteY0" fmla="*/ 92012 h 209550"/>
                  <a:gd name="connsiteX1" fmla="*/ 154210 w 200025"/>
                  <a:gd name="connsiteY1" fmla="*/ 0 h 209550"/>
                  <a:gd name="connsiteX2" fmla="*/ 205835 w 200025"/>
                  <a:gd name="connsiteY2" fmla="*/ 0 h 209550"/>
                  <a:gd name="connsiteX3" fmla="*/ 118300 w 200025"/>
                  <a:gd name="connsiteY3" fmla="*/ 86296 h 209550"/>
                  <a:gd name="connsiteX4" fmla="*/ 167450 w 200025"/>
                  <a:gd name="connsiteY4" fmla="*/ 215932 h 209550"/>
                  <a:gd name="connsiteX5" fmla="*/ 121920 w 200025"/>
                  <a:gd name="connsiteY5" fmla="*/ 215932 h 209550"/>
                  <a:gd name="connsiteX6" fmla="*/ 87344 w 200025"/>
                  <a:gd name="connsiteY6" fmla="*/ 116681 h 209550"/>
                  <a:gd name="connsiteX7" fmla="*/ 53816 w 200025"/>
                  <a:gd name="connsiteY7" fmla="*/ 149828 h 209550"/>
                  <a:gd name="connsiteX8" fmla="*/ 40481 w 200025"/>
                  <a:gd name="connsiteY8" fmla="*/ 215932 h 209550"/>
                  <a:gd name="connsiteX9" fmla="*/ 0 w 200025"/>
                  <a:gd name="connsiteY9" fmla="*/ 215932 h 209550"/>
                  <a:gd name="connsiteX10" fmla="*/ 43434 w 200025"/>
                  <a:gd name="connsiteY10" fmla="*/ 0 h 209550"/>
                  <a:gd name="connsiteX11" fmla="*/ 83820 w 200025"/>
                  <a:gd name="connsiteY1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09550">
                    <a:moveTo>
                      <a:pt x="65341" y="92012"/>
                    </a:moveTo>
                    <a:lnTo>
                      <a:pt x="154210" y="0"/>
                    </a:lnTo>
                    <a:lnTo>
                      <a:pt x="205835" y="0"/>
                    </a:lnTo>
                    <a:lnTo>
                      <a:pt x="118300" y="86296"/>
                    </a:lnTo>
                    <a:lnTo>
                      <a:pt x="167450" y="215932"/>
                    </a:lnTo>
                    <a:lnTo>
                      <a:pt x="121920" y="215932"/>
                    </a:lnTo>
                    <a:lnTo>
                      <a:pt x="87344" y="116681"/>
                    </a:lnTo>
                    <a:lnTo>
                      <a:pt x="53816" y="149828"/>
                    </a:lnTo>
                    <a:lnTo>
                      <a:pt x="40481" y="215932"/>
                    </a:lnTo>
                    <a:lnTo>
                      <a:pt x="0" y="215932"/>
                    </a:lnTo>
                    <a:lnTo>
                      <a:pt x="43434" y="0"/>
                    </a:lnTo>
                    <a:lnTo>
                      <a:pt x="8382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17A0FE35-181E-4324-AF41-D4BD62564F23}"/>
                  </a:ext>
                </a:extLst>
              </p:cNvPr>
              <p:cNvSpPr/>
              <p:nvPr/>
            </p:nvSpPr>
            <p:spPr>
              <a:xfrm>
                <a:off x="9182119" y="3521790"/>
                <a:ext cx="344728" cy="316001"/>
              </a:xfrm>
              <a:custGeom>
                <a:avLst/>
                <a:gdLst>
                  <a:gd name="connsiteX0" fmla="*/ 43434 w 228600"/>
                  <a:gd name="connsiteY0" fmla="*/ 0 h 209550"/>
                  <a:gd name="connsiteX1" fmla="*/ 80581 w 228600"/>
                  <a:gd name="connsiteY1" fmla="*/ 0 h 209550"/>
                  <a:gd name="connsiteX2" fmla="*/ 111442 w 228600"/>
                  <a:gd name="connsiteY2" fmla="*/ 116110 h 209550"/>
                  <a:gd name="connsiteX3" fmla="*/ 190214 w 228600"/>
                  <a:gd name="connsiteY3" fmla="*/ 0 h 209550"/>
                  <a:gd name="connsiteX4" fmla="*/ 228885 w 228600"/>
                  <a:gd name="connsiteY4" fmla="*/ 0 h 209550"/>
                  <a:gd name="connsiteX5" fmla="*/ 185547 w 228600"/>
                  <a:gd name="connsiteY5" fmla="*/ 216027 h 209550"/>
                  <a:gd name="connsiteX6" fmla="*/ 146018 w 228600"/>
                  <a:gd name="connsiteY6" fmla="*/ 216027 h 209550"/>
                  <a:gd name="connsiteX7" fmla="*/ 171450 w 228600"/>
                  <a:gd name="connsiteY7" fmla="*/ 89154 h 209550"/>
                  <a:gd name="connsiteX8" fmla="*/ 116967 w 228600"/>
                  <a:gd name="connsiteY8" fmla="*/ 169259 h 209550"/>
                  <a:gd name="connsiteX9" fmla="*/ 89725 w 228600"/>
                  <a:gd name="connsiteY9" fmla="*/ 169259 h 209550"/>
                  <a:gd name="connsiteX10" fmla="*/ 65246 w 228600"/>
                  <a:gd name="connsiteY10" fmla="*/ 88297 h 209550"/>
                  <a:gd name="connsiteX11" fmla="*/ 39624 w 228600"/>
                  <a:gd name="connsiteY11" fmla="*/ 216027 h 209550"/>
                  <a:gd name="connsiteX12" fmla="*/ 0 w 228600"/>
                  <a:gd name="connsiteY12" fmla="*/ 216027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209550">
                    <a:moveTo>
                      <a:pt x="43434" y="0"/>
                    </a:moveTo>
                    <a:lnTo>
                      <a:pt x="80581" y="0"/>
                    </a:lnTo>
                    <a:lnTo>
                      <a:pt x="111442" y="116110"/>
                    </a:lnTo>
                    <a:lnTo>
                      <a:pt x="190214" y="0"/>
                    </a:lnTo>
                    <a:lnTo>
                      <a:pt x="228885" y="0"/>
                    </a:lnTo>
                    <a:lnTo>
                      <a:pt x="185547" y="216027"/>
                    </a:lnTo>
                    <a:lnTo>
                      <a:pt x="146018" y="216027"/>
                    </a:lnTo>
                    <a:lnTo>
                      <a:pt x="171450" y="89154"/>
                    </a:lnTo>
                    <a:lnTo>
                      <a:pt x="116967" y="169259"/>
                    </a:lnTo>
                    <a:lnTo>
                      <a:pt x="89725" y="169259"/>
                    </a:lnTo>
                    <a:lnTo>
                      <a:pt x="65246" y="88297"/>
                    </a:lnTo>
                    <a:lnTo>
                      <a:pt x="39624" y="216027"/>
                    </a:lnTo>
                    <a:lnTo>
                      <a:pt x="0" y="21602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2487B25A-A907-42A0-9461-7AA7A2FEE889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25" name="Linientext 05,60">
              <a:extLst>
                <a:ext uri="{FF2B5EF4-FFF2-40B4-BE49-F238E27FC236}">
                  <a16:creationId xmlns:a16="http://schemas.microsoft.com/office/drawing/2014/main" id="{ACD78EBE-BBBF-4505-B6E5-3EBE13D15362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6" name="Hilfslinie 12,10">
              <a:extLst>
                <a:ext uri="{FF2B5EF4-FFF2-40B4-BE49-F238E27FC236}">
                  <a16:creationId xmlns:a16="http://schemas.microsoft.com/office/drawing/2014/main" id="{62680DBB-AF07-4E1D-A6BA-EA96C8C2185E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Linientext 12,10">
              <a:extLst>
                <a:ext uri="{FF2B5EF4-FFF2-40B4-BE49-F238E27FC236}">
                  <a16:creationId xmlns:a16="http://schemas.microsoft.com/office/drawing/2014/main" id="{75CFC45A-3929-4B34-9709-A3BCFBF74712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45" name="Linientext 13,95">
              <a:extLst>
                <a:ext uri="{FF2B5EF4-FFF2-40B4-BE49-F238E27FC236}">
                  <a16:creationId xmlns:a16="http://schemas.microsoft.com/office/drawing/2014/main" id="{01EEA9C8-C666-43AE-BD7E-ED1EA854A0E4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46" name="Hilfslinie 13,95">
              <a:extLst>
                <a:ext uri="{FF2B5EF4-FFF2-40B4-BE49-F238E27FC236}">
                  <a16:creationId xmlns:a16="http://schemas.microsoft.com/office/drawing/2014/main" id="{DB84011E-DE98-4C8A-9AE0-8682FB6FB5BD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Hilfslinie 12,10">
              <a:extLst>
                <a:ext uri="{FF2B5EF4-FFF2-40B4-BE49-F238E27FC236}">
                  <a16:creationId xmlns:a16="http://schemas.microsoft.com/office/drawing/2014/main" id="{390F7FF2-10C6-4D1B-95C1-8FF28DE91BDA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Linientext 12,10">
              <a:extLst>
                <a:ext uri="{FF2B5EF4-FFF2-40B4-BE49-F238E27FC236}">
                  <a16:creationId xmlns:a16="http://schemas.microsoft.com/office/drawing/2014/main" id="{C270110B-9896-4EF8-8923-AC7FF6A32703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49" name="Linientext 13,95">
              <a:extLst>
                <a:ext uri="{FF2B5EF4-FFF2-40B4-BE49-F238E27FC236}">
                  <a16:creationId xmlns:a16="http://schemas.microsoft.com/office/drawing/2014/main" id="{17CC4E29-50DD-4743-A729-EA8064FAB387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50" name="Hilfslinie 13,95">
              <a:extLst>
                <a:ext uri="{FF2B5EF4-FFF2-40B4-BE49-F238E27FC236}">
                  <a16:creationId xmlns:a16="http://schemas.microsoft.com/office/drawing/2014/main" id="{23B56BFD-D2C2-4971-8A41-348CF554410D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Linientext 05,60">
              <a:extLst>
                <a:ext uri="{FF2B5EF4-FFF2-40B4-BE49-F238E27FC236}">
                  <a16:creationId xmlns:a16="http://schemas.microsoft.com/office/drawing/2014/main" id="{BF548181-7A9A-4963-81E1-383F28B0B7CE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2" name="Linientext 05,60">
              <a:extLst>
                <a:ext uri="{FF2B5EF4-FFF2-40B4-BE49-F238E27FC236}">
                  <a16:creationId xmlns:a16="http://schemas.microsoft.com/office/drawing/2014/main" id="{20B086CD-BB34-461D-8A1D-8F3BA3D7E4B8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3" name="Linientext 05,60">
              <a:extLst>
                <a:ext uri="{FF2B5EF4-FFF2-40B4-BE49-F238E27FC236}">
                  <a16:creationId xmlns:a16="http://schemas.microsoft.com/office/drawing/2014/main" id="{AA548A52-070B-4DF8-8708-D29EDE76CDF2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4" name="Linientext 05,60">
              <a:extLst>
                <a:ext uri="{FF2B5EF4-FFF2-40B4-BE49-F238E27FC236}">
                  <a16:creationId xmlns:a16="http://schemas.microsoft.com/office/drawing/2014/main" id="{0D917016-E465-4A28-9B54-30FAA0881A7F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5" name="Hilfslinie 05,60">
              <a:extLst>
                <a:ext uri="{FF2B5EF4-FFF2-40B4-BE49-F238E27FC236}">
                  <a16:creationId xmlns:a16="http://schemas.microsoft.com/office/drawing/2014/main" id="{869533B9-402A-4290-9E6E-7E95B9816073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Hilfslinie 05,60">
              <a:extLst>
                <a:ext uri="{FF2B5EF4-FFF2-40B4-BE49-F238E27FC236}">
                  <a16:creationId xmlns:a16="http://schemas.microsoft.com/office/drawing/2014/main" id="{902E99F3-D734-4E80-B199-A1C60347C21D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Hilfslinie 05,60">
              <a:extLst>
                <a:ext uri="{FF2B5EF4-FFF2-40B4-BE49-F238E27FC236}">
                  <a16:creationId xmlns:a16="http://schemas.microsoft.com/office/drawing/2014/main" id="{82BF11CC-0739-4E7B-9CE3-5890A2379361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Hilfslinie 05,60">
              <a:extLst>
                <a:ext uri="{FF2B5EF4-FFF2-40B4-BE49-F238E27FC236}">
                  <a16:creationId xmlns:a16="http://schemas.microsoft.com/office/drawing/2014/main" id="{D6320B19-DA19-4CBC-BA70-7E591FF435C6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Hilfslinie 05,60">
              <a:extLst>
                <a:ext uri="{FF2B5EF4-FFF2-40B4-BE49-F238E27FC236}">
                  <a16:creationId xmlns:a16="http://schemas.microsoft.com/office/drawing/2014/main" id="{2D2AC143-6C9D-4444-BFE2-B1FF24090BFF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Linientext 05,60">
              <a:extLst>
                <a:ext uri="{FF2B5EF4-FFF2-40B4-BE49-F238E27FC236}">
                  <a16:creationId xmlns:a16="http://schemas.microsoft.com/office/drawing/2014/main" id="{77DB7999-ED98-46BE-97D8-23F58A97D628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Hilfslinie 05,60">
              <a:extLst>
                <a:ext uri="{FF2B5EF4-FFF2-40B4-BE49-F238E27FC236}">
                  <a16:creationId xmlns:a16="http://schemas.microsoft.com/office/drawing/2014/main" id="{5A8C3C05-B7A4-459E-B677-A19144FAB7AC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17874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Contents and Graphic top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766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7" y="476250"/>
            <a:ext cx="5580064" cy="30469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820865"/>
            <a:ext cx="5580064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5364162" cy="316706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Foliennummernplatzhalter 3">
            <a:extLst>
              <a:ext uri="{FF2B5EF4-FFF2-40B4-BE49-F238E27FC236}">
                <a16:creationId xmlns:a16="http://schemas.microsoft.com/office/drawing/2014/main" id="{46689E8E-9B7C-42F8-A91C-96BC6870D0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BD131E4-FD29-4177-8495-0FABB0BC84E9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3950" y="1557338"/>
            <a:ext cx="5364163" cy="3167062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49AA85CE-1E7E-4647-B8C3-E2CE647A9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6077375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C971A2F8-F481-4787-BB07-E26ECA4232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89091" y="0"/>
            <a:ext cx="4802909" cy="1446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943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7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042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1ED99E32-AB58-4309-8ADA-DF0506229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203949" y="-1"/>
            <a:ext cx="6003407" cy="686971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7" y="476250"/>
            <a:ext cx="5580064" cy="30469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820865"/>
            <a:ext cx="5580064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7200900" cy="43195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6E1C3F30-FB36-4E65-806B-F3FABFBB40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0160F0D-6FCC-4D0D-9C3A-BA4A608FA4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888" y="6077375"/>
            <a:ext cx="7200900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8779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29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White,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6239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6" y="476250"/>
            <a:ext cx="5364165" cy="30469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5364165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5364162" cy="43195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768A18FA-D3D8-4764-9CF6-93701EFDF27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15100" y="0"/>
            <a:ext cx="5676900" cy="6858000"/>
          </a:xfrm>
          <a:custGeom>
            <a:avLst/>
            <a:gdLst>
              <a:gd name="connsiteX0" fmla="*/ 0 w 5676900"/>
              <a:gd name="connsiteY0" fmla="*/ 0 h 6858000"/>
              <a:gd name="connsiteX1" fmla="*/ 5676900 w 5676900"/>
              <a:gd name="connsiteY1" fmla="*/ 0 h 6858000"/>
              <a:gd name="connsiteX2" fmla="*/ 5676900 w 5676900"/>
              <a:gd name="connsiteY2" fmla="*/ 6858000 h 6858000"/>
              <a:gd name="connsiteX3" fmla="*/ 647700 w 5676900"/>
              <a:gd name="connsiteY3" fmla="*/ 6858000 h 6858000"/>
              <a:gd name="connsiteX4" fmla="*/ 1612900 w 5676900"/>
              <a:gd name="connsiteY4" fmla="*/ 5867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6900" h="6858000">
                <a:moveTo>
                  <a:pt x="0" y="0"/>
                </a:moveTo>
                <a:lnTo>
                  <a:pt x="5676900" y="0"/>
                </a:lnTo>
                <a:lnTo>
                  <a:pt x="5676900" y="6858000"/>
                </a:lnTo>
                <a:lnTo>
                  <a:pt x="647700" y="6858000"/>
                </a:lnTo>
                <a:lnTo>
                  <a:pt x="1612900" y="5867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08000" rIns="108000" bIns="108000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icon to insert an image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F99B4890-5345-49B9-B165-17D7141545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F8CFA2C-7A32-4294-A053-35D76EC492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888" y="6077375"/>
            <a:ext cx="536416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4" name="Regieanweisung // Allgemein">
            <a:extLst>
              <a:ext uri="{FF2B5EF4-FFF2-40B4-BE49-F238E27FC236}">
                <a16:creationId xmlns:a16="http://schemas.microsoft.com/office/drawing/2014/main" id="{57F9A686-A958-46DB-A423-66360D3AAA77}"/>
              </a:ext>
            </a:extLst>
          </p:cNvPr>
          <p:cNvSpPr txBox="1"/>
          <p:nvPr userDrawn="1"/>
        </p:nvSpPr>
        <p:spPr>
          <a:xfrm rot="10800000" flipH="1" flipV="1">
            <a:off x="12345888" y="6097041"/>
            <a:ext cx="1570138" cy="760959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 vert="horz" wrap="square" lIns="72000" tIns="72000" rIns="72000" bIns="72000" rtlCol="0" anchor="b" anchorCtr="0">
            <a:sp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Please change color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of page number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White for darker pictures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Grey for lighter pictures</a:t>
            </a:r>
            <a:endParaRPr lang="en-US" sz="1000" b="1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192029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White,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7681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951" y="476250"/>
            <a:ext cx="5364165" cy="30469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3" y="820865"/>
            <a:ext cx="5364165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03950" y="1557338"/>
            <a:ext cx="5364165" cy="43195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F99B4890-5345-49B9-B165-17D7141545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AF8CFA2C-7A32-4294-A053-35D76EC4923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3950" y="6076236"/>
            <a:ext cx="5364165" cy="123111"/>
          </a:xfrm>
        </p:spPr>
        <p:txBody>
          <a:bodyPr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7" name="Bildplatzhalter 16">
            <a:extLst>
              <a:ext uri="{FF2B5EF4-FFF2-40B4-BE49-F238E27FC236}">
                <a16:creationId xmlns:a16="http://schemas.microsoft.com/office/drawing/2014/main" id="{16C84D09-C4DB-4D60-BD10-E6126B4802F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5676900" cy="6858000"/>
          </a:xfrm>
          <a:custGeom>
            <a:avLst/>
            <a:gdLst>
              <a:gd name="connsiteX0" fmla="*/ 0 w 5676900"/>
              <a:gd name="connsiteY0" fmla="*/ 0 h 6858000"/>
              <a:gd name="connsiteX1" fmla="*/ 5676900 w 5676900"/>
              <a:gd name="connsiteY1" fmla="*/ 0 h 6858000"/>
              <a:gd name="connsiteX2" fmla="*/ 4064000 w 5676900"/>
              <a:gd name="connsiteY2" fmla="*/ 5867400 h 6858000"/>
              <a:gd name="connsiteX3" fmla="*/ 5029200 w 5676900"/>
              <a:gd name="connsiteY3" fmla="*/ 6858000 h 6858000"/>
              <a:gd name="connsiteX4" fmla="*/ 0 w 56769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6900" h="6858000">
                <a:moveTo>
                  <a:pt x="0" y="0"/>
                </a:moveTo>
                <a:lnTo>
                  <a:pt x="5676900" y="0"/>
                </a:lnTo>
                <a:lnTo>
                  <a:pt x="4064000" y="5867400"/>
                </a:lnTo>
                <a:lnTo>
                  <a:pt x="5029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108000" tIns="108000" rIns="108000" bIns="10800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dirty="0"/>
              <a:t>Click on the icon to insert an imag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69942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Blue 1, Picture righ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15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A0F1276F-4747-4E84-868F-EFEFFA3CC7A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9" y="2232580"/>
            <a:ext cx="3744914" cy="609398"/>
          </a:xfrm>
        </p:spPr>
        <p:txBody>
          <a:bodyPr anchor="b"/>
          <a:lstStyle>
            <a:lvl1pPr>
              <a:defRPr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multi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9" y="2881894"/>
            <a:ext cx="3744914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89A49AE-7E2F-4957-87CE-A1FA6172C6A3}"/>
              </a:ext>
            </a:extLst>
          </p:cNvPr>
          <p:cNvGrpSpPr/>
          <p:nvPr userDrawn="1"/>
        </p:nvGrpSpPr>
        <p:grpSpPr>
          <a:xfrm>
            <a:off x="623888" y="6415097"/>
            <a:ext cx="841094" cy="111909"/>
            <a:chOff x="223019" y="5512949"/>
            <a:chExt cx="2540191" cy="337977"/>
          </a:xfrm>
          <a:solidFill>
            <a:schemeClr val="bg1"/>
          </a:solidFill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F32EC7B-018E-4679-B896-87D76E3484C8}"/>
                </a:ext>
              </a:extLst>
            </p:cNvPr>
            <p:cNvSpPr/>
            <p:nvPr/>
          </p:nvSpPr>
          <p:spPr>
            <a:xfrm>
              <a:off x="490471" y="5606744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B88CCC-EBED-4655-AC2F-03183B237911}"/>
                </a:ext>
              </a:extLst>
            </p:cNvPr>
            <p:cNvSpPr/>
            <p:nvPr/>
          </p:nvSpPr>
          <p:spPr>
            <a:xfrm>
              <a:off x="882599" y="5611914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4FA1148-9279-42DA-8994-8424DC237CF1}"/>
                </a:ext>
              </a:extLst>
            </p:cNvPr>
            <p:cNvSpPr/>
            <p:nvPr/>
          </p:nvSpPr>
          <p:spPr>
            <a:xfrm>
              <a:off x="1328017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183B565-36A5-4B10-BC86-2ADC97C50F16}"/>
                </a:ext>
              </a:extLst>
            </p:cNvPr>
            <p:cNvSpPr/>
            <p:nvPr/>
          </p:nvSpPr>
          <p:spPr>
            <a:xfrm>
              <a:off x="2705755" y="5512949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03EEF87A-EB7F-4706-8256-A46001DE068F}"/>
                </a:ext>
              </a:extLst>
            </p:cNvPr>
            <p:cNvSpPr/>
            <p:nvPr/>
          </p:nvSpPr>
          <p:spPr>
            <a:xfrm>
              <a:off x="2427843" y="5606026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0534B6D7-0C36-4E1A-BB8A-6383979D42F9}"/>
                </a:ext>
              </a:extLst>
            </p:cNvPr>
            <p:cNvSpPr/>
            <p:nvPr/>
          </p:nvSpPr>
          <p:spPr>
            <a:xfrm>
              <a:off x="2651342" y="5614356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D7EE7AA3-B89D-4B25-87F5-F6E68800A5E0}"/>
                </a:ext>
              </a:extLst>
            </p:cNvPr>
            <p:cNvSpPr/>
            <p:nvPr/>
          </p:nvSpPr>
          <p:spPr>
            <a:xfrm>
              <a:off x="1914198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C17BF44-0FB6-4461-B008-080A0F2F0C78}"/>
                </a:ext>
              </a:extLst>
            </p:cNvPr>
            <p:cNvSpPr/>
            <p:nvPr/>
          </p:nvSpPr>
          <p:spPr>
            <a:xfrm>
              <a:off x="1117732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03ECA18-4C7A-4869-8037-2CFFC6165FAF}"/>
                </a:ext>
              </a:extLst>
            </p:cNvPr>
            <p:cNvSpPr/>
            <p:nvPr/>
          </p:nvSpPr>
          <p:spPr>
            <a:xfrm>
              <a:off x="2154790" y="5521567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D72B9A1-B18F-4EC1-AD03-7A8D24D49676}"/>
                </a:ext>
              </a:extLst>
            </p:cNvPr>
            <p:cNvSpPr/>
            <p:nvPr/>
          </p:nvSpPr>
          <p:spPr>
            <a:xfrm>
              <a:off x="637269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E6003F08-7E3D-4E22-922C-363B1589A184}"/>
                </a:ext>
              </a:extLst>
            </p:cNvPr>
            <p:cNvSpPr/>
            <p:nvPr/>
          </p:nvSpPr>
          <p:spPr>
            <a:xfrm>
              <a:off x="223019" y="5521567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D7B1C3A-37AC-4D24-A7C8-7E7B1CAF478B}"/>
                </a:ext>
              </a:extLst>
            </p:cNvPr>
            <p:cNvSpPr/>
            <p:nvPr/>
          </p:nvSpPr>
          <p:spPr>
            <a:xfrm>
              <a:off x="1579955" y="5521567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FAEA725E-D6DF-4BC8-85C2-4F21512B9F09}"/>
              </a:ext>
            </a:extLst>
          </p:cNvPr>
          <p:cNvSpPr/>
          <p:nvPr userDrawn="1"/>
        </p:nvSpPr>
        <p:spPr>
          <a:xfrm>
            <a:off x="1796103" y="6422713"/>
            <a:ext cx="1189211" cy="131809"/>
          </a:xfrm>
          <a:custGeom>
            <a:avLst/>
            <a:gdLst>
              <a:gd name="connsiteX0" fmla="*/ 3869817 w 3867150"/>
              <a:gd name="connsiteY0" fmla="*/ 118300 h 428625"/>
              <a:gd name="connsiteX1" fmla="*/ 3787617 w 3867150"/>
              <a:gd name="connsiteY1" fmla="*/ 87916 h 428625"/>
              <a:gd name="connsiteX2" fmla="*/ 3705416 w 3867150"/>
              <a:gd name="connsiteY2" fmla="*/ 116396 h 428625"/>
              <a:gd name="connsiteX3" fmla="*/ 3680270 w 3867150"/>
              <a:gd name="connsiteY3" fmla="*/ 178213 h 428625"/>
              <a:gd name="connsiteX4" fmla="*/ 3739610 w 3867150"/>
              <a:gd name="connsiteY4" fmla="*/ 234315 h 428625"/>
              <a:gd name="connsiteX5" fmla="*/ 3771995 w 3867150"/>
              <a:gd name="connsiteY5" fmla="*/ 239554 h 428625"/>
              <a:gd name="connsiteX6" fmla="*/ 3795332 w 3867150"/>
              <a:gd name="connsiteY6" fmla="*/ 260032 h 428625"/>
              <a:gd name="connsiteX7" fmla="*/ 3744944 w 3867150"/>
              <a:gd name="connsiteY7" fmla="*/ 290894 h 428625"/>
              <a:gd name="connsiteX8" fmla="*/ 3687985 w 3867150"/>
              <a:gd name="connsiteY8" fmla="*/ 267081 h 428625"/>
              <a:gd name="connsiteX9" fmla="*/ 3645694 w 3867150"/>
              <a:gd name="connsiteY9" fmla="*/ 304133 h 428625"/>
              <a:gd name="connsiteX10" fmla="*/ 3741135 w 3867150"/>
              <a:gd name="connsiteY10" fmla="*/ 341186 h 428625"/>
              <a:gd name="connsiteX11" fmla="*/ 3827145 w 3867150"/>
              <a:gd name="connsiteY11" fmla="*/ 314134 h 428625"/>
              <a:gd name="connsiteX12" fmla="*/ 3853720 w 3867150"/>
              <a:gd name="connsiteY12" fmla="*/ 254222 h 428625"/>
              <a:gd name="connsiteX13" fmla="*/ 3793903 w 3867150"/>
              <a:gd name="connsiteY13" fmla="*/ 190024 h 428625"/>
              <a:gd name="connsiteX14" fmla="*/ 3761994 w 3867150"/>
              <a:gd name="connsiteY14" fmla="*/ 184785 h 428625"/>
              <a:gd name="connsiteX15" fmla="*/ 3739134 w 3867150"/>
              <a:gd name="connsiteY15" fmla="*/ 166211 h 428625"/>
              <a:gd name="connsiteX16" fmla="*/ 3782377 w 3867150"/>
              <a:gd name="connsiteY16" fmla="*/ 136303 h 428625"/>
              <a:gd name="connsiteX17" fmla="*/ 3829431 w 3867150"/>
              <a:gd name="connsiteY17" fmla="*/ 153924 h 428625"/>
              <a:gd name="connsiteX18" fmla="*/ 3869817 w 3867150"/>
              <a:gd name="connsiteY18" fmla="*/ 118300 h 428625"/>
              <a:gd name="connsiteX19" fmla="*/ 3661220 w 3867150"/>
              <a:gd name="connsiteY19" fmla="*/ 122111 h 428625"/>
              <a:gd name="connsiteX20" fmla="*/ 3588544 w 3867150"/>
              <a:gd name="connsiteY20" fmla="*/ 87916 h 428625"/>
              <a:gd name="connsiteX21" fmla="*/ 3462623 w 3867150"/>
              <a:gd name="connsiteY21" fmla="*/ 214313 h 428625"/>
              <a:gd name="connsiteX22" fmla="*/ 3458813 w 3867150"/>
              <a:gd name="connsiteY22" fmla="*/ 252794 h 428625"/>
              <a:gd name="connsiteX23" fmla="*/ 3547586 w 3867150"/>
              <a:gd name="connsiteY23" fmla="*/ 341186 h 428625"/>
              <a:gd name="connsiteX24" fmla="*/ 3629311 w 3867150"/>
              <a:gd name="connsiteY24" fmla="*/ 309848 h 428625"/>
              <a:gd name="connsiteX25" fmla="*/ 3596545 w 3867150"/>
              <a:gd name="connsiteY25" fmla="*/ 267557 h 428625"/>
              <a:gd name="connsiteX26" fmla="*/ 3553301 w 3867150"/>
              <a:gd name="connsiteY26" fmla="*/ 288512 h 428625"/>
              <a:gd name="connsiteX27" fmla="*/ 3518154 w 3867150"/>
              <a:gd name="connsiteY27" fmla="*/ 246221 h 428625"/>
              <a:gd name="connsiteX28" fmla="*/ 3521488 w 3867150"/>
              <a:gd name="connsiteY28" fmla="*/ 214313 h 428625"/>
              <a:gd name="connsiteX29" fmla="*/ 3547586 w 3867150"/>
              <a:gd name="connsiteY29" fmla="*/ 156305 h 428625"/>
              <a:gd name="connsiteX30" fmla="*/ 3582734 w 3867150"/>
              <a:gd name="connsiteY30" fmla="*/ 140589 h 428625"/>
              <a:gd name="connsiteX31" fmla="*/ 3616928 w 3867150"/>
              <a:gd name="connsiteY31" fmla="*/ 161068 h 428625"/>
              <a:gd name="connsiteX32" fmla="*/ 3661220 w 3867150"/>
              <a:gd name="connsiteY32" fmla="*/ 122111 h 428625"/>
              <a:gd name="connsiteX33" fmla="*/ 3456813 w 3867150"/>
              <a:gd name="connsiteY33" fmla="*/ 953 h 428625"/>
              <a:gd name="connsiteX34" fmla="*/ 3395948 w 3867150"/>
              <a:gd name="connsiteY34" fmla="*/ 953 h 428625"/>
              <a:gd name="connsiteX35" fmla="*/ 3386423 w 3867150"/>
              <a:gd name="connsiteY35" fmla="*/ 49816 h 428625"/>
              <a:gd name="connsiteX36" fmla="*/ 3446812 w 3867150"/>
              <a:gd name="connsiteY36" fmla="*/ 49816 h 428625"/>
              <a:gd name="connsiteX37" fmla="*/ 3456813 w 3867150"/>
              <a:gd name="connsiteY37" fmla="*/ 953 h 428625"/>
              <a:gd name="connsiteX38" fmla="*/ 3436906 w 3867150"/>
              <a:gd name="connsiteY38" fmla="*/ 98393 h 428625"/>
              <a:gd name="connsiteX39" fmla="*/ 3377946 w 3867150"/>
              <a:gd name="connsiteY39" fmla="*/ 98393 h 428625"/>
              <a:gd name="connsiteX40" fmla="*/ 3329940 w 3867150"/>
              <a:gd name="connsiteY40" fmla="*/ 338423 h 428625"/>
              <a:gd name="connsiteX41" fmla="*/ 3388900 w 3867150"/>
              <a:gd name="connsiteY41" fmla="*/ 338423 h 428625"/>
              <a:gd name="connsiteX42" fmla="*/ 3436906 w 3867150"/>
              <a:gd name="connsiteY42" fmla="*/ 98393 h 428625"/>
              <a:gd name="connsiteX43" fmla="*/ 3328035 w 3867150"/>
              <a:gd name="connsiteY43" fmla="*/ 98393 h 428625"/>
              <a:gd name="connsiteX44" fmla="*/ 3287173 w 3867150"/>
              <a:gd name="connsiteY44" fmla="*/ 98393 h 428625"/>
              <a:gd name="connsiteX45" fmla="*/ 3301937 w 3867150"/>
              <a:gd name="connsiteY45" fmla="*/ 24289 h 428625"/>
              <a:gd name="connsiteX46" fmla="*/ 3242977 w 3867150"/>
              <a:gd name="connsiteY46" fmla="*/ 24289 h 428625"/>
              <a:gd name="connsiteX47" fmla="*/ 3228213 w 3867150"/>
              <a:gd name="connsiteY47" fmla="*/ 98393 h 428625"/>
              <a:gd name="connsiteX48" fmla="*/ 3203067 w 3867150"/>
              <a:gd name="connsiteY48" fmla="*/ 98393 h 428625"/>
              <a:gd name="connsiteX49" fmla="*/ 3194019 w 3867150"/>
              <a:gd name="connsiteY49" fmla="*/ 142970 h 428625"/>
              <a:gd name="connsiteX50" fmla="*/ 3219164 w 3867150"/>
              <a:gd name="connsiteY50" fmla="*/ 142970 h 428625"/>
              <a:gd name="connsiteX51" fmla="*/ 3194971 w 3867150"/>
              <a:gd name="connsiteY51" fmla="*/ 264223 h 428625"/>
              <a:gd name="connsiteX52" fmla="*/ 3193066 w 3867150"/>
              <a:gd name="connsiteY52" fmla="*/ 284702 h 428625"/>
              <a:gd name="connsiteX53" fmla="*/ 3252883 w 3867150"/>
              <a:gd name="connsiteY53" fmla="*/ 338328 h 428625"/>
              <a:gd name="connsiteX54" fmla="*/ 3283268 w 3867150"/>
              <a:gd name="connsiteY54" fmla="*/ 338328 h 428625"/>
              <a:gd name="connsiteX55" fmla="*/ 3293269 w 3867150"/>
              <a:gd name="connsiteY55" fmla="*/ 288988 h 428625"/>
              <a:gd name="connsiteX56" fmla="*/ 3271933 w 3867150"/>
              <a:gd name="connsiteY56" fmla="*/ 288988 h 428625"/>
              <a:gd name="connsiteX57" fmla="*/ 3252883 w 3867150"/>
              <a:gd name="connsiteY57" fmla="*/ 273748 h 428625"/>
              <a:gd name="connsiteX58" fmla="*/ 3253836 w 3867150"/>
              <a:gd name="connsiteY58" fmla="*/ 264700 h 428625"/>
              <a:gd name="connsiteX59" fmla="*/ 3278029 w 3867150"/>
              <a:gd name="connsiteY59" fmla="*/ 142970 h 428625"/>
              <a:gd name="connsiteX60" fmla="*/ 3318891 w 3867150"/>
              <a:gd name="connsiteY60" fmla="*/ 142970 h 428625"/>
              <a:gd name="connsiteX61" fmla="*/ 3328035 w 3867150"/>
              <a:gd name="connsiteY61" fmla="*/ 98393 h 428625"/>
              <a:gd name="connsiteX62" fmla="*/ 3163062 w 3867150"/>
              <a:gd name="connsiteY62" fmla="*/ 118300 h 428625"/>
              <a:gd name="connsiteX63" fmla="*/ 3080861 w 3867150"/>
              <a:gd name="connsiteY63" fmla="*/ 87916 h 428625"/>
              <a:gd name="connsiteX64" fmla="*/ 2998565 w 3867150"/>
              <a:gd name="connsiteY64" fmla="*/ 116396 h 428625"/>
              <a:gd name="connsiteX65" fmla="*/ 2973420 w 3867150"/>
              <a:gd name="connsiteY65" fmla="*/ 178213 h 428625"/>
              <a:gd name="connsiteX66" fmla="*/ 3032760 w 3867150"/>
              <a:gd name="connsiteY66" fmla="*/ 234315 h 428625"/>
              <a:gd name="connsiteX67" fmla="*/ 3065145 w 3867150"/>
              <a:gd name="connsiteY67" fmla="*/ 239554 h 428625"/>
              <a:gd name="connsiteX68" fmla="*/ 3088481 w 3867150"/>
              <a:gd name="connsiteY68" fmla="*/ 260032 h 428625"/>
              <a:gd name="connsiteX69" fmla="*/ 3037999 w 3867150"/>
              <a:gd name="connsiteY69" fmla="*/ 290894 h 428625"/>
              <a:gd name="connsiteX70" fmla="*/ 2981039 w 3867150"/>
              <a:gd name="connsiteY70" fmla="*/ 267081 h 428625"/>
              <a:gd name="connsiteX71" fmla="*/ 2938748 w 3867150"/>
              <a:gd name="connsiteY71" fmla="*/ 304133 h 428625"/>
              <a:gd name="connsiteX72" fmla="*/ 3034189 w 3867150"/>
              <a:gd name="connsiteY72" fmla="*/ 341186 h 428625"/>
              <a:gd name="connsiteX73" fmla="*/ 3120295 w 3867150"/>
              <a:gd name="connsiteY73" fmla="*/ 314134 h 428625"/>
              <a:gd name="connsiteX74" fmla="*/ 3146870 w 3867150"/>
              <a:gd name="connsiteY74" fmla="*/ 254222 h 428625"/>
              <a:gd name="connsiteX75" fmla="*/ 3087053 w 3867150"/>
              <a:gd name="connsiteY75" fmla="*/ 190024 h 428625"/>
              <a:gd name="connsiteX76" fmla="*/ 3055144 w 3867150"/>
              <a:gd name="connsiteY76" fmla="*/ 184785 h 428625"/>
              <a:gd name="connsiteX77" fmla="*/ 3032284 w 3867150"/>
              <a:gd name="connsiteY77" fmla="*/ 166211 h 428625"/>
              <a:gd name="connsiteX78" fmla="*/ 3075623 w 3867150"/>
              <a:gd name="connsiteY78" fmla="*/ 136303 h 428625"/>
              <a:gd name="connsiteX79" fmla="*/ 3122676 w 3867150"/>
              <a:gd name="connsiteY79" fmla="*/ 153924 h 428625"/>
              <a:gd name="connsiteX80" fmla="*/ 3163062 w 3867150"/>
              <a:gd name="connsiteY80" fmla="*/ 118300 h 428625"/>
              <a:gd name="connsiteX81" fmla="*/ 2858453 w 3867150"/>
              <a:gd name="connsiteY81" fmla="*/ 231934 h 428625"/>
              <a:gd name="connsiteX82" fmla="*/ 2855595 w 3867150"/>
              <a:gd name="connsiteY82" fmla="*/ 246697 h 428625"/>
              <a:gd name="connsiteX83" fmla="*/ 2840831 w 3867150"/>
              <a:gd name="connsiteY83" fmla="*/ 278035 h 428625"/>
              <a:gd name="connsiteX84" fmla="*/ 2802350 w 3867150"/>
              <a:gd name="connsiteY84" fmla="*/ 293275 h 428625"/>
              <a:gd name="connsiteX85" fmla="*/ 2770918 w 3867150"/>
              <a:gd name="connsiteY85" fmla="*/ 269938 h 428625"/>
              <a:gd name="connsiteX86" fmla="*/ 2813209 w 3867150"/>
              <a:gd name="connsiteY86" fmla="*/ 231838 h 428625"/>
              <a:gd name="connsiteX87" fmla="*/ 2858453 w 3867150"/>
              <a:gd name="connsiteY87" fmla="*/ 231838 h 428625"/>
              <a:gd name="connsiteX88" fmla="*/ 2930652 w 3867150"/>
              <a:gd name="connsiteY88" fmla="*/ 156877 h 428625"/>
              <a:gd name="connsiteX89" fmla="*/ 2842736 w 3867150"/>
              <a:gd name="connsiteY89" fmla="*/ 88011 h 428625"/>
              <a:gd name="connsiteX90" fmla="*/ 2751011 w 3867150"/>
              <a:gd name="connsiteY90" fmla="*/ 121253 h 428625"/>
              <a:gd name="connsiteX91" fmla="*/ 2781395 w 3867150"/>
              <a:gd name="connsiteY91" fmla="*/ 160687 h 428625"/>
              <a:gd name="connsiteX92" fmla="*/ 2834640 w 3867150"/>
              <a:gd name="connsiteY92" fmla="*/ 137350 h 428625"/>
              <a:gd name="connsiteX93" fmla="*/ 2871311 w 3867150"/>
              <a:gd name="connsiteY93" fmla="*/ 164021 h 428625"/>
              <a:gd name="connsiteX94" fmla="*/ 2869883 w 3867150"/>
              <a:gd name="connsiteY94" fmla="*/ 176879 h 428625"/>
              <a:gd name="connsiteX95" fmla="*/ 2866549 w 3867150"/>
              <a:gd name="connsiteY95" fmla="*/ 191643 h 428625"/>
              <a:gd name="connsiteX96" fmla="*/ 2807589 w 3867150"/>
              <a:gd name="connsiteY96" fmla="*/ 191643 h 428625"/>
              <a:gd name="connsiteX97" fmla="*/ 2735390 w 3867150"/>
              <a:gd name="connsiteY97" fmla="*/ 217265 h 428625"/>
              <a:gd name="connsiteX98" fmla="*/ 2713101 w 3867150"/>
              <a:gd name="connsiteY98" fmla="*/ 275749 h 428625"/>
              <a:gd name="connsiteX99" fmla="*/ 2783872 w 3867150"/>
              <a:gd name="connsiteY99" fmla="*/ 340805 h 428625"/>
              <a:gd name="connsiteX100" fmla="*/ 2843784 w 3867150"/>
              <a:gd name="connsiteY100" fmla="*/ 316611 h 428625"/>
              <a:gd name="connsiteX101" fmla="*/ 2839498 w 3867150"/>
              <a:gd name="connsiteY101" fmla="*/ 338423 h 428625"/>
              <a:gd name="connsiteX102" fmla="*/ 2896076 w 3867150"/>
              <a:gd name="connsiteY102" fmla="*/ 338423 h 428625"/>
              <a:gd name="connsiteX103" fmla="*/ 2928366 w 3867150"/>
              <a:gd name="connsiteY103" fmla="*/ 178784 h 428625"/>
              <a:gd name="connsiteX104" fmla="*/ 2930652 w 3867150"/>
              <a:gd name="connsiteY104" fmla="*/ 156877 h 428625"/>
              <a:gd name="connsiteX105" fmla="*/ 2697766 w 3867150"/>
              <a:gd name="connsiteY105" fmla="*/ 0 h 428625"/>
              <a:gd name="connsiteX106" fmla="*/ 2638806 w 3867150"/>
              <a:gd name="connsiteY106" fmla="*/ 0 h 428625"/>
              <a:gd name="connsiteX107" fmla="*/ 2586133 w 3867150"/>
              <a:gd name="connsiteY107" fmla="*/ 264223 h 428625"/>
              <a:gd name="connsiteX108" fmla="*/ 2584228 w 3867150"/>
              <a:gd name="connsiteY108" fmla="*/ 284702 h 428625"/>
              <a:gd name="connsiteX109" fmla="*/ 2643569 w 3867150"/>
              <a:gd name="connsiteY109" fmla="*/ 338328 h 428625"/>
              <a:gd name="connsiteX110" fmla="*/ 2675858 w 3867150"/>
              <a:gd name="connsiteY110" fmla="*/ 338328 h 428625"/>
              <a:gd name="connsiteX111" fmla="*/ 2685860 w 3867150"/>
              <a:gd name="connsiteY111" fmla="*/ 288512 h 428625"/>
              <a:gd name="connsiteX112" fmla="*/ 2661666 w 3867150"/>
              <a:gd name="connsiteY112" fmla="*/ 288512 h 428625"/>
              <a:gd name="connsiteX113" fmla="*/ 2643569 w 3867150"/>
              <a:gd name="connsiteY113" fmla="*/ 274225 h 428625"/>
              <a:gd name="connsiteX114" fmla="*/ 2644997 w 3867150"/>
              <a:gd name="connsiteY114" fmla="*/ 263747 h 428625"/>
              <a:gd name="connsiteX115" fmla="*/ 2697766 w 3867150"/>
              <a:gd name="connsiteY115" fmla="*/ 0 h 428625"/>
              <a:gd name="connsiteX116" fmla="*/ 2514791 w 3867150"/>
              <a:gd name="connsiteY116" fmla="*/ 94583 h 428625"/>
              <a:gd name="connsiteX117" fmla="*/ 2455355 w 3867150"/>
              <a:gd name="connsiteY117" fmla="*/ 151638 h 428625"/>
              <a:gd name="connsiteX118" fmla="*/ 2399253 w 3867150"/>
              <a:gd name="connsiteY118" fmla="*/ 151638 h 428625"/>
              <a:gd name="connsiteX119" fmla="*/ 2418779 w 3867150"/>
              <a:gd name="connsiteY119" fmla="*/ 55531 h 428625"/>
              <a:gd name="connsiteX120" fmla="*/ 2476786 w 3867150"/>
              <a:gd name="connsiteY120" fmla="*/ 55531 h 428625"/>
              <a:gd name="connsiteX121" fmla="*/ 2514791 w 3867150"/>
              <a:gd name="connsiteY121" fmla="*/ 94583 h 428625"/>
              <a:gd name="connsiteX122" fmla="*/ 2578037 w 3867150"/>
              <a:gd name="connsiteY122" fmla="*/ 89345 h 428625"/>
              <a:gd name="connsiteX123" fmla="*/ 2487359 w 3867150"/>
              <a:gd name="connsiteY123" fmla="*/ 0 h 428625"/>
              <a:gd name="connsiteX124" fmla="*/ 2367058 w 3867150"/>
              <a:gd name="connsiteY124" fmla="*/ 0 h 428625"/>
              <a:gd name="connsiteX125" fmla="*/ 2299049 w 3867150"/>
              <a:gd name="connsiteY125" fmla="*/ 338328 h 428625"/>
              <a:gd name="connsiteX126" fmla="*/ 2361819 w 3867150"/>
              <a:gd name="connsiteY126" fmla="*/ 338328 h 428625"/>
              <a:gd name="connsiteX127" fmla="*/ 2387918 w 3867150"/>
              <a:gd name="connsiteY127" fmla="*/ 207169 h 428625"/>
              <a:gd name="connsiteX128" fmla="*/ 2453069 w 3867150"/>
              <a:gd name="connsiteY128" fmla="*/ 207169 h 428625"/>
              <a:gd name="connsiteX129" fmla="*/ 2578037 w 3867150"/>
              <a:gd name="connsiteY129" fmla="*/ 89345 h 428625"/>
              <a:gd name="connsiteX130" fmla="*/ 2105501 w 3867150"/>
              <a:gd name="connsiteY130" fmla="*/ 173546 h 428625"/>
              <a:gd name="connsiteX131" fmla="*/ 2101215 w 3867150"/>
              <a:gd name="connsiteY131" fmla="*/ 207740 h 428625"/>
              <a:gd name="connsiteX132" fmla="*/ 2048923 w 3867150"/>
              <a:gd name="connsiteY132" fmla="*/ 275272 h 428625"/>
              <a:gd name="connsiteX133" fmla="*/ 2019490 w 3867150"/>
              <a:gd name="connsiteY133" fmla="*/ 242506 h 428625"/>
              <a:gd name="connsiteX134" fmla="*/ 2023777 w 3867150"/>
              <a:gd name="connsiteY134" fmla="*/ 208312 h 428625"/>
              <a:gd name="connsiteX135" fmla="*/ 2076069 w 3867150"/>
              <a:gd name="connsiteY135" fmla="*/ 140779 h 428625"/>
              <a:gd name="connsiteX136" fmla="*/ 2105501 w 3867150"/>
              <a:gd name="connsiteY136" fmla="*/ 173546 h 428625"/>
              <a:gd name="connsiteX137" fmla="*/ 2105501 w 3867150"/>
              <a:gd name="connsiteY137" fmla="*/ 173546 h 428625"/>
              <a:gd name="connsiteX138" fmla="*/ 2183035 w 3867150"/>
              <a:gd name="connsiteY138" fmla="*/ 90773 h 428625"/>
              <a:gd name="connsiteX139" fmla="*/ 2125980 w 3867150"/>
              <a:gd name="connsiteY139" fmla="*/ 90773 h 428625"/>
              <a:gd name="connsiteX140" fmla="*/ 2121218 w 3867150"/>
              <a:gd name="connsiteY140" fmla="*/ 115919 h 428625"/>
              <a:gd name="connsiteX141" fmla="*/ 2065115 w 3867150"/>
              <a:gd name="connsiteY141" fmla="*/ 87821 h 428625"/>
              <a:gd name="connsiteX142" fmla="*/ 2001964 w 3867150"/>
              <a:gd name="connsiteY142" fmla="*/ 112490 h 428625"/>
              <a:gd name="connsiteX143" fmla="*/ 1964912 w 3867150"/>
              <a:gd name="connsiteY143" fmla="*/ 207550 h 428625"/>
              <a:gd name="connsiteX144" fmla="*/ 1958721 w 3867150"/>
              <a:gd name="connsiteY144" fmla="*/ 257937 h 428625"/>
              <a:gd name="connsiteX145" fmla="*/ 2027111 w 3867150"/>
              <a:gd name="connsiteY145" fmla="*/ 327755 h 428625"/>
              <a:gd name="connsiteX146" fmla="*/ 2082260 w 3867150"/>
              <a:gd name="connsiteY146" fmla="*/ 303086 h 428625"/>
              <a:gd name="connsiteX147" fmla="*/ 2077022 w 3867150"/>
              <a:gd name="connsiteY147" fmla="*/ 328231 h 428625"/>
              <a:gd name="connsiteX148" fmla="*/ 2016633 w 3867150"/>
              <a:gd name="connsiteY148" fmla="*/ 381953 h 428625"/>
              <a:gd name="connsiteX149" fmla="*/ 1975295 w 3867150"/>
              <a:gd name="connsiteY149" fmla="*/ 362426 h 428625"/>
              <a:gd name="connsiteX150" fmla="*/ 1934432 w 3867150"/>
              <a:gd name="connsiteY150" fmla="*/ 398050 h 428625"/>
              <a:gd name="connsiteX151" fmla="*/ 2016633 w 3867150"/>
              <a:gd name="connsiteY151" fmla="*/ 431768 h 428625"/>
              <a:gd name="connsiteX152" fmla="*/ 2135505 w 3867150"/>
              <a:gd name="connsiteY152" fmla="*/ 328613 h 428625"/>
              <a:gd name="connsiteX153" fmla="*/ 2183035 w 3867150"/>
              <a:gd name="connsiteY153" fmla="*/ 90773 h 428625"/>
              <a:gd name="connsiteX154" fmla="*/ 1924431 w 3867150"/>
              <a:gd name="connsiteY154" fmla="*/ 156305 h 428625"/>
              <a:gd name="connsiteX155" fmla="*/ 1861280 w 3867150"/>
              <a:gd name="connsiteY155" fmla="*/ 87916 h 428625"/>
              <a:gd name="connsiteX156" fmla="*/ 1796129 w 3867150"/>
              <a:gd name="connsiteY156" fmla="*/ 114490 h 428625"/>
              <a:gd name="connsiteX157" fmla="*/ 1800415 w 3867150"/>
              <a:gd name="connsiteY157" fmla="*/ 90773 h 428625"/>
              <a:gd name="connsiteX158" fmla="*/ 1743837 w 3867150"/>
              <a:gd name="connsiteY158" fmla="*/ 90773 h 428625"/>
              <a:gd name="connsiteX159" fmla="*/ 1694402 w 3867150"/>
              <a:gd name="connsiteY159" fmla="*/ 338328 h 428625"/>
              <a:gd name="connsiteX160" fmla="*/ 1753362 w 3867150"/>
              <a:gd name="connsiteY160" fmla="*/ 338328 h 428625"/>
              <a:gd name="connsiteX161" fmla="*/ 1783747 w 3867150"/>
              <a:gd name="connsiteY161" fmla="*/ 188119 h 428625"/>
              <a:gd name="connsiteX162" fmla="*/ 1834134 w 3867150"/>
              <a:gd name="connsiteY162" fmla="*/ 140589 h 428625"/>
              <a:gd name="connsiteX163" fmla="*/ 1863566 w 3867150"/>
              <a:gd name="connsiteY163" fmla="*/ 171450 h 428625"/>
              <a:gd name="connsiteX164" fmla="*/ 1861661 w 3867150"/>
              <a:gd name="connsiteY164" fmla="*/ 187642 h 428625"/>
              <a:gd name="connsiteX165" fmla="*/ 1831277 w 3867150"/>
              <a:gd name="connsiteY165" fmla="*/ 338328 h 428625"/>
              <a:gd name="connsiteX166" fmla="*/ 1890141 w 3867150"/>
              <a:gd name="connsiteY166" fmla="*/ 338328 h 428625"/>
              <a:gd name="connsiteX167" fmla="*/ 1921002 w 3867150"/>
              <a:gd name="connsiteY167" fmla="*/ 183832 h 428625"/>
              <a:gd name="connsiteX168" fmla="*/ 1924431 w 3867150"/>
              <a:gd name="connsiteY168" fmla="*/ 156305 h 428625"/>
              <a:gd name="connsiteX169" fmla="*/ 1702022 w 3867150"/>
              <a:gd name="connsiteY169" fmla="*/ 953 h 428625"/>
              <a:gd name="connsiteX170" fmla="*/ 1641157 w 3867150"/>
              <a:gd name="connsiteY170" fmla="*/ 953 h 428625"/>
              <a:gd name="connsiteX171" fmla="*/ 1631632 w 3867150"/>
              <a:gd name="connsiteY171" fmla="*/ 49816 h 428625"/>
              <a:gd name="connsiteX172" fmla="*/ 1692021 w 3867150"/>
              <a:gd name="connsiteY172" fmla="*/ 49816 h 428625"/>
              <a:gd name="connsiteX173" fmla="*/ 1702022 w 3867150"/>
              <a:gd name="connsiteY173" fmla="*/ 953 h 428625"/>
              <a:gd name="connsiteX174" fmla="*/ 1682115 w 3867150"/>
              <a:gd name="connsiteY174" fmla="*/ 98393 h 428625"/>
              <a:gd name="connsiteX175" fmla="*/ 1623155 w 3867150"/>
              <a:gd name="connsiteY175" fmla="*/ 98393 h 428625"/>
              <a:gd name="connsiteX176" fmla="*/ 1575149 w 3867150"/>
              <a:gd name="connsiteY176" fmla="*/ 338423 h 428625"/>
              <a:gd name="connsiteX177" fmla="*/ 1634109 w 3867150"/>
              <a:gd name="connsiteY177" fmla="*/ 338423 h 428625"/>
              <a:gd name="connsiteX178" fmla="*/ 1682115 w 3867150"/>
              <a:gd name="connsiteY178" fmla="*/ 98393 h 428625"/>
              <a:gd name="connsiteX179" fmla="*/ 1592199 w 3867150"/>
              <a:gd name="connsiteY179" fmla="*/ 111252 h 428625"/>
              <a:gd name="connsiteX180" fmla="*/ 1539431 w 3867150"/>
              <a:gd name="connsiteY180" fmla="*/ 88011 h 428625"/>
              <a:gd name="connsiteX181" fmla="*/ 1476661 w 3867150"/>
              <a:gd name="connsiteY181" fmla="*/ 115062 h 428625"/>
              <a:gd name="connsiteX182" fmla="*/ 1481900 w 3867150"/>
              <a:gd name="connsiteY182" fmla="*/ 90869 h 428625"/>
              <a:gd name="connsiteX183" fmla="*/ 1424845 w 3867150"/>
              <a:gd name="connsiteY183" fmla="*/ 90869 h 428625"/>
              <a:gd name="connsiteX184" fmla="*/ 1375410 w 3867150"/>
              <a:gd name="connsiteY184" fmla="*/ 338423 h 428625"/>
              <a:gd name="connsiteX185" fmla="*/ 1434370 w 3867150"/>
              <a:gd name="connsiteY185" fmla="*/ 338423 h 428625"/>
              <a:gd name="connsiteX186" fmla="*/ 1464278 w 3867150"/>
              <a:gd name="connsiteY186" fmla="*/ 188690 h 428625"/>
              <a:gd name="connsiteX187" fmla="*/ 1514189 w 3867150"/>
              <a:gd name="connsiteY187" fmla="*/ 141161 h 428625"/>
              <a:gd name="connsiteX188" fmla="*/ 1541240 w 3867150"/>
              <a:gd name="connsiteY188" fmla="*/ 156400 h 428625"/>
              <a:gd name="connsiteX189" fmla="*/ 1592199 w 3867150"/>
              <a:gd name="connsiteY189" fmla="*/ 111252 h 428625"/>
              <a:gd name="connsiteX190" fmla="*/ 1298067 w 3867150"/>
              <a:gd name="connsiteY190" fmla="*/ 176308 h 428625"/>
              <a:gd name="connsiteX191" fmla="*/ 1296638 w 3867150"/>
              <a:gd name="connsiteY191" fmla="*/ 192977 h 428625"/>
              <a:gd name="connsiteX192" fmla="*/ 1205770 w 3867150"/>
              <a:gd name="connsiteY192" fmla="*/ 192977 h 428625"/>
              <a:gd name="connsiteX193" fmla="*/ 1262825 w 3867150"/>
              <a:gd name="connsiteY193" fmla="*/ 136303 h 428625"/>
              <a:gd name="connsiteX194" fmla="*/ 1298067 w 3867150"/>
              <a:gd name="connsiteY194" fmla="*/ 176308 h 428625"/>
              <a:gd name="connsiteX195" fmla="*/ 1354074 w 3867150"/>
              <a:gd name="connsiteY195" fmla="*/ 176308 h 428625"/>
              <a:gd name="connsiteX196" fmla="*/ 1266158 w 3867150"/>
              <a:gd name="connsiteY196" fmla="*/ 87916 h 428625"/>
              <a:gd name="connsiteX197" fmla="*/ 1140238 w 3867150"/>
              <a:gd name="connsiteY197" fmla="*/ 254222 h 428625"/>
              <a:gd name="connsiteX198" fmla="*/ 1231964 w 3867150"/>
              <a:gd name="connsiteY198" fmla="*/ 341186 h 428625"/>
              <a:gd name="connsiteX199" fmla="*/ 1328452 w 3867150"/>
              <a:gd name="connsiteY199" fmla="*/ 305086 h 428625"/>
              <a:gd name="connsiteX200" fmla="*/ 1297591 w 3867150"/>
              <a:gd name="connsiteY200" fmla="*/ 266129 h 428625"/>
              <a:gd name="connsiteX201" fmla="*/ 1238631 w 3867150"/>
              <a:gd name="connsiteY201" fmla="*/ 291370 h 428625"/>
              <a:gd name="connsiteX202" fmla="*/ 1196340 w 3867150"/>
              <a:gd name="connsiteY202" fmla="*/ 249936 h 428625"/>
              <a:gd name="connsiteX203" fmla="*/ 1198245 w 3867150"/>
              <a:gd name="connsiteY203" fmla="*/ 232315 h 428625"/>
              <a:gd name="connsiteX204" fmla="*/ 1346549 w 3867150"/>
              <a:gd name="connsiteY204" fmla="*/ 232315 h 428625"/>
              <a:gd name="connsiteX205" fmla="*/ 1354074 w 3867150"/>
              <a:gd name="connsiteY205" fmla="*/ 176308 h 428625"/>
              <a:gd name="connsiteX206" fmla="*/ 1054227 w 3867150"/>
              <a:gd name="connsiteY206" fmla="*/ 176308 h 428625"/>
              <a:gd name="connsiteX207" fmla="*/ 1052798 w 3867150"/>
              <a:gd name="connsiteY207" fmla="*/ 192977 h 428625"/>
              <a:gd name="connsiteX208" fmla="*/ 961930 w 3867150"/>
              <a:gd name="connsiteY208" fmla="*/ 192977 h 428625"/>
              <a:gd name="connsiteX209" fmla="*/ 1018984 w 3867150"/>
              <a:gd name="connsiteY209" fmla="*/ 136303 h 428625"/>
              <a:gd name="connsiteX210" fmla="*/ 1054227 w 3867150"/>
              <a:gd name="connsiteY210" fmla="*/ 176308 h 428625"/>
              <a:gd name="connsiteX211" fmla="*/ 1110234 w 3867150"/>
              <a:gd name="connsiteY211" fmla="*/ 176308 h 428625"/>
              <a:gd name="connsiteX212" fmla="*/ 1022318 w 3867150"/>
              <a:gd name="connsiteY212" fmla="*/ 87916 h 428625"/>
              <a:gd name="connsiteX213" fmla="*/ 896398 w 3867150"/>
              <a:gd name="connsiteY213" fmla="*/ 254222 h 428625"/>
              <a:gd name="connsiteX214" fmla="*/ 988124 w 3867150"/>
              <a:gd name="connsiteY214" fmla="*/ 341186 h 428625"/>
              <a:gd name="connsiteX215" fmla="*/ 1084612 w 3867150"/>
              <a:gd name="connsiteY215" fmla="*/ 305086 h 428625"/>
              <a:gd name="connsiteX216" fmla="*/ 1053751 w 3867150"/>
              <a:gd name="connsiteY216" fmla="*/ 266129 h 428625"/>
              <a:gd name="connsiteX217" fmla="*/ 994791 w 3867150"/>
              <a:gd name="connsiteY217" fmla="*/ 291370 h 428625"/>
              <a:gd name="connsiteX218" fmla="*/ 952500 w 3867150"/>
              <a:gd name="connsiteY218" fmla="*/ 249936 h 428625"/>
              <a:gd name="connsiteX219" fmla="*/ 954405 w 3867150"/>
              <a:gd name="connsiteY219" fmla="*/ 232315 h 428625"/>
              <a:gd name="connsiteX220" fmla="*/ 1102709 w 3867150"/>
              <a:gd name="connsiteY220" fmla="*/ 232315 h 428625"/>
              <a:gd name="connsiteX221" fmla="*/ 1110234 w 3867150"/>
              <a:gd name="connsiteY221" fmla="*/ 176308 h 428625"/>
              <a:gd name="connsiteX222" fmla="*/ 863537 w 3867150"/>
              <a:gd name="connsiteY222" fmla="*/ 156305 h 428625"/>
              <a:gd name="connsiteX223" fmla="*/ 800386 w 3867150"/>
              <a:gd name="connsiteY223" fmla="*/ 87916 h 428625"/>
              <a:gd name="connsiteX224" fmla="*/ 735235 w 3867150"/>
              <a:gd name="connsiteY224" fmla="*/ 114490 h 428625"/>
              <a:gd name="connsiteX225" fmla="*/ 739521 w 3867150"/>
              <a:gd name="connsiteY225" fmla="*/ 90773 h 428625"/>
              <a:gd name="connsiteX226" fmla="*/ 682943 w 3867150"/>
              <a:gd name="connsiteY226" fmla="*/ 90773 h 428625"/>
              <a:gd name="connsiteX227" fmla="*/ 633508 w 3867150"/>
              <a:gd name="connsiteY227" fmla="*/ 338328 h 428625"/>
              <a:gd name="connsiteX228" fmla="*/ 692468 w 3867150"/>
              <a:gd name="connsiteY228" fmla="*/ 338328 h 428625"/>
              <a:gd name="connsiteX229" fmla="*/ 722852 w 3867150"/>
              <a:gd name="connsiteY229" fmla="*/ 188119 h 428625"/>
              <a:gd name="connsiteX230" fmla="*/ 773240 w 3867150"/>
              <a:gd name="connsiteY230" fmla="*/ 140589 h 428625"/>
              <a:gd name="connsiteX231" fmla="*/ 802672 w 3867150"/>
              <a:gd name="connsiteY231" fmla="*/ 171450 h 428625"/>
              <a:gd name="connsiteX232" fmla="*/ 800767 w 3867150"/>
              <a:gd name="connsiteY232" fmla="*/ 187642 h 428625"/>
              <a:gd name="connsiteX233" fmla="*/ 770382 w 3867150"/>
              <a:gd name="connsiteY233" fmla="*/ 338328 h 428625"/>
              <a:gd name="connsiteX234" fmla="*/ 829247 w 3867150"/>
              <a:gd name="connsiteY234" fmla="*/ 338328 h 428625"/>
              <a:gd name="connsiteX235" fmla="*/ 860108 w 3867150"/>
              <a:gd name="connsiteY235" fmla="*/ 183832 h 428625"/>
              <a:gd name="connsiteX236" fmla="*/ 863537 w 3867150"/>
              <a:gd name="connsiteY236" fmla="*/ 156305 h 428625"/>
              <a:gd name="connsiteX237" fmla="*/ 553688 w 3867150"/>
              <a:gd name="connsiteY237" fmla="*/ 176308 h 428625"/>
              <a:gd name="connsiteX238" fmla="*/ 548450 w 3867150"/>
              <a:gd name="connsiteY238" fmla="*/ 214313 h 428625"/>
              <a:gd name="connsiteX239" fmla="*/ 523208 w 3867150"/>
              <a:gd name="connsiteY239" fmla="*/ 276130 h 428625"/>
              <a:gd name="connsiteX240" fmla="*/ 492824 w 3867150"/>
              <a:gd name="connsiteY240" fmla="*/ 288512 h 428625"/>
              <a:gd name="connsiteX241" fmla="*/ 461391 w 3867150"/>
              <a:gd name="connsiteY241" fmla="*/ 252889 h 428625"/>
              <a:gd name="connsiteX242" fmla="*/ 466630 w 3867150"/>
              <a:gd name="connsiteY242" fmla="*/ 214408 h 428625"/>
              <a:gd name="connsiteX243" fmla="*/ 491871 w 3867150"/>
              <a:gd name="connsiteY243" fmla="*/ 153067 h 428625"/>
              <a:gd name="connsiteX244" fmla="*/ 522351 w 3867150"/>
              <a:gd name="connsiteY244" fmla="*/ 140684 h 428625"/>
              <a:gd name="connsiteX245" fmla="*/ 553688 w 3867150"/>
              <a:gd name="connsiteY245" fmla="*/ 176308 h 428625"/>
              <a:gd name="connsiteX246" fmla="*/ 612172 w 3867150"/>
              <a:gd name="connsiteY246" fmla="*/ 169640 h 428625"/>
              <a:gd name="connsiteX247" fmla="*/ 528542 w 3867150"/>
              <a:gd name="connsiteY247" fmla="*/ 87916 h 428625"/>
              <a:gd name="connsiteX248" fmla="*/ 452438 w 3867150"/>
              <a:gd name="connsiteY248" fmla="*/ 116396 h 428625"/>
              <a:gd name="connsiteX249" fmla="*/ 408242 w 3867150"/>
              <a:gd name="connsiteY249" fmla="*/ 214313 h 428625"/>
              <a:gd name="connsiteX250" fmla="*/ 403003 w 3867150"/>
              <a:gd name="connsiteY250" fmla="*/ 259461 h 428625"/>
              <a:gd name="connsiteX251" fmla="*/ 487109 w 3867150"/>
              <a:gd name="connsiteY251" fmla="*/ 341186 h 428625"/>
              <a:gd name="connsiteX252" fmla="*/ 563213 w 3867150"/>
              <a:gd name="connsiteY252" fmla="*/ 312706 h 428625"/>
              <a:gd name="connsiteX253" fmla="*/ 607409 w 3867150"/>
              <a:gd name="connsiteY253" fmla="*/ 214313 h 428625"/>
              <a:gd name="connsiteX254" fmla="*/ 612172 w 3867150"/>
              <a:gd name="connsiteY254" fmla="*/ 169640 h 428625"/>
              <a:gd name="connsiteX255" fmla="*/ 401098 w 3867150"/>
              <a:gd name="connsiteY255" fmla="*/ 953 h 428625"/>
              <a:gd name="connsiteX256" fmla="*/ 340233 w 3867150"/>
              <a:gd name="connsiteY256" fmla="*/ 953 h 428625"/>
              <a:gd name="connsiteX257" fmla="*/ 330708 w 3867150"/>
              <a:gd name="connsiteY257" fmla="*/ 49816 h 428625"/>
              <a:gd name="connsiteX258" fmla="*/ 391096 w 3867150"/>
              <a:gd name="connsiteY258" fmla="*/ 49816 h 428625"/>
              <a:gd name="connsiteX259" fmla="*/ 401098 w 3867150"/>
              <a:gd name="connsiteY259" fmla="*/ 953 h 428625"/>
              <a:gd name="connsiteX260" fmla="*/ 381191 w 3867150"/>
              <a:gd name="connsiteY260" fmla="*/ 98393 h 428625"/>
              <a:gd name="connsiteX261" fmla="*/ 322231 w 3867150"/>
              <a:gd name="connsiteY261" fmla="*/ 98393 h 428625"/>
              <a:gd name="connsiteX262" fmla="*/ 274225 w 3867150"/>
              <a:gd name="connsiteY262" fmla="*/ 338423 h 428625"/>
              <a:gd name="connsiteX263" fmla="*/ 333184 w 3867150"/>
              <a:gd name="connsiteY263" fmla="*/ 338423 h 428625"/>
              <a:gd name="connsiteX264" fmla="*/ 381191 w 3867150"/>
              <a:gd name="connsiteY264" fmla="*/ 98393 h 428625"/>
              <a:gd name="connsiteX265" fmla="*/ 215741 w 3867150"/>
              <a:gd name="connsiteY265" fmla="*/ 94583 h 428625"/>
              <a:gd name="connsiteX266" fmla="*/ 156305 w 3867150"/>
              <a:gd name="connsiteY266" fmla="*/ 151638 h 428625"/>
              <a:gd name="connsiteX267" fmla="*/ 100203 w 3867150"/>
              <a:gd name="connsiteY267" fmla="*/ 151638 h 428625"/>
              <a:gd name="connsiteX268" fmla="*/ 119729 w 3867150"/>
              <a:gd name="connsiteY268" fmla="*/ 55531 h 428625"/>
              <a:gd name="connsiteX269" fmla="*/ 177737 w 3867150"/>
              <a:gd name="connsiteY269" fmla="*/ 55531 h 428625"/>
              <a:gd name="connsiteX270" fmla="*/ 215741 w 3867150"/>
              <a:gd name="connsiteY270" fmla="*/ 94583 h 428625"/>
              <a:gd name="connsiteX271" fmla="*/ 278987 w 3867150"/>
              <a:gd name="connsiteY271" fmla="*/ 89345 h 428625"/>
              <a:gd name="connsiteX272" fmla="*/ 188214 w 3867150"/>
              <a:gd name="connsiteY272" fmla="*/ 0 h 428625"/>
              <a:gd name="connsiteX273" fmla="*/ 68008 w 3867150"/>
              <a:gd name="connsiteY273" fmla="*/ 0 h 428625"/>
              <a:gd name="connsiteX274" fmla="*/ 0 w 3867150"/>
              <a:gd name="connsiteY274" fmla="*/ 338328 h 428625"/>
              <a:gd name="connsiteX275" fmla="*/ 62770 w 3867150"/>
              <a:gd name="connsiteY275" fmla="*/ 338328 h 428625"/>
              <a:gd name="connsiteX276" fmla="*/ 88868 w 3867150"/>
              <a:gd name="connsiteY276" fmla="*/ 207169 h 428625"/>
              <a:gd name="connsiteX277" fmla="*/ 154019 w 3867150"/>
              <a:gd name="connsiteY277" fmla="*/ 207169 h 428625"/>
              <a:gd name="connsiteX278" fmla="*/ 278987 w 3867150"/>
              <a:gd name="connsiteY278" fmla="*/ 8934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3867150" h="428625">
                <a:moveTo>
                  <a:pt x="3869817" y="118300"/>
                </a:moveTo>
                <a:cubicBezTo>
                  <a:pt x="3848481" y="96488"/>
                  <a:pt x="3822764" y="87916"/>
                  <a:pt x="3787617" y="87916"/>
                </a:cubicBezTo>
                <a:cubicBezTo>
                  <a:pt x="3752374" y="87916"/>
                  <a:pt x="3723894" y="97917"/>
                  <a:pt x="3705416" y="116396"/>
                </a:cubicBezTo>
                <a:cubicBezTo>
                  <a:pt x="3688842" y="132969"/>
                  <a:pt x="3680270" y="155353"/>
                  <a:pt x="3680270" y="178213"/>
                </a:cubicBezTo>
                <a:cubicBezTo>
                  <a:pt x="3680270" y="201549"/>
                  <a:pt x="3694462" y="226695"/>
                  <a:pt x="3739610" y="234315"/>
                </a:cubicBezTo>
                <a:lnTo>
                  <a:pt x="3771995" y="239554"/>
                </a:lnTo>
                <a:cubicBezTo>
                  <a:pt x="3786283" y="241935"/>
                  <a:pt x="3795332" y="246697"/>
                  <a:pt x="3795332" y="260032"/>
                </a:cubicBezTo>
                <a:cubicBezTo>
                  <a:pt x="3795332" y="274796"/>
                  <a:pt x="3778663" y="290894"/>
                  <a:pt x="3744944" y="290894"/>
                </a:cubicBezTo>
                <a:cubicBezTo>
                  <a:pt x="3716941" y="290894"/>
                  <a:pt x="3700272" y="281369"/>
                  <a:pt x="3687985" y="267081"/>
                </a:cubicBezTo>
                <a:lnTo>
                  <a:pt x="3645694" y="304133"/>
                </a:lnTo>
                <a:cubicBezTo>
                  <a:pt x="3667601" y="327850"/>
                  <a:pt x="3697034" y="341186"/>
                  <a:pt x="3741135" y="341186"/>
                </a:cubicBezTo>
                <a:cubicBezTo>
                  <a:pt x="3773043" y="341186"/>
                  <a:pt x="3807238" y="333565"/>
                  <a:pt x="3827145" y="314134"/>
                </a:cubicBezTo>
                <a:cubicBezTo>
                  <a:pt x="3843338" y="298513"/>
                  <a:pt x="3853720" y="278987"/>
                  <a:pt x="3853720" y="254222"/>
                </a:cubicBezTo>
                <a:cubicBezTo>
                  <a:pt x="3853720" y="220028"/>
                  <a:pt x="3838004" y="197167"/>
                  <a:pt x="3793903" y="190024"/>
                </a:cubicBezTo>
                <a:lnTo>
                  <a:pt x="3761994" y="184785"/>
                </a:lnTo>
                <a:cubicBezTo>
                  <a:pt x="3746754" y="182404"/>
                  <a:pt x="3739134" y="176689"/>
                  <a:pt x="3739134" y="166211"/>
                </a:cubicBezTo>
                <a:cubicBezTo>
                  <a:pt x="3739134" y="150971"/>
                  <a:pt x="3752469" y="136303"/>
                  <a:pt x="3782377" y="136303"/>
                </a:cubicBezTo>
                <a:cubicBezTo>
                  <a:pt x="3799999" y="136303"/>
                  <a:pt x="3818001" y="142018"/>
                  <a:pt x="3829431" y="153924"/>
                </a:cubicBezTo>
                <a:lnTo>
                  <a:pt x="3869817" y="118300"/>
                </a:lnTo>
                <a:close/>
                <a:moveTo>
                  <a:pt x="3661220" y="122111"/>
                </a:moveTo>
                <a:cubicBezTo>
                  <a:pt x="3646456" y="103156"/>
                  <a:pt x="3624644" y="87916"/>
                  <a:pt x="3588544" y="87916"/>
                </a:cubicBezTo>
                <a:cubicBezTo>
                  <a:pt x="3538157" y="87916"/>
                  <a:pt x="3481197" y="113538"/>
                  <a:pt x="3462623" y="214313"/>
                </a:cubicBezTo>
                <a:cubicBezTo>
                  <a:pt x="3460242" y="227171"/>
                  <a:pt x="3458813" y="240982"/>
                  <a:pt x="3458813" y="252794"/>
                </a:cubicBezTo>
                <a:cubicBezTo>
                  <a:pt x="3458813" y="311277"/>
                  <a:pt x="3500628" y="341186"/>
                  <a:pt x="3547586" y="341186"/>
                </a:cubicBezTo>
                <a:cubicBezTo>
                  <a:pt x="3579400" y="341186"/>
                  <a:pt x="3608451" y="329279"/>
                  <a:pt x="3629311" y="309848"/>
                </a:cubicBezTo>
                <a:lnTo>
                  <a:pt x="3596545" y="267557"/>
                </a:lnTo>
                <a:cubicBezTo>
                  <a:pt x="3582734" y="281369"/>
                  <a:pt x="3569875" y="288512"/>
                  <a:pt x="3553301" y="288512"/>
                </a:cubicBezTo>
                <a:cubicBezTo>
                  <a:pt x="3530441" y="288512"/>
                  <a:pt x="3518154" y="272320"/>
                  <a:pt x="3518154" y="246221"/>
                </a:cubicBezTo>
                <a:cubicBezTo>
                  <a:pt x="3518154" y="234791"/>
                  <a:pt x="3519583" y="225266"/>
                  <a:pt x="3521488" y="214313"/>
                </a:cubicBezTo>
                <a:cubicBezTo>
                  <a:pt x="3525774" y="190976"/>
                  <a:pt x="3534823" y="169640"/>
                  <a:pt x="3547586" y="156305"/>
                </a:cubicBezTo>
                <a:cubicBezTo>
                  <a:pt x="3558064" y="145352"/>
                  <a:pt x="3569970" y="140589"/>
                  <a:pt x="3582734" y="140589"/>
                </a:cubicBezTo>
                <a:cubicBezTo>
                  <a:pt x="3597497" y="140589"/>
                  <a:pt x="3607499" y="148209"/>
                  <a:pt x="3616928" y="161068"/>
                </a:cubicBezTo>
                <a:lnTo>
                  <a:pt x="3661220" y="122111"/>
                </a:lnTo>
                <a:close/>
                <a:moveTo>
                  <a:pt x="3456813" y="953"/>
                </a:moveTo>
                <a:lnTo>
                  <a:pt x="3395948" y="953"/>
                </a:lnTo>
                <a:lnTo>
                  <a:pt x="3386423" y="49816"/>
                </a:lnTo>
                <a:lnTo>
                  <a:pt x="3446812" y="49816"/>
                </a:lnTo>
                <a:lnTo>
                  <a:pt x="3456813" y="953"/>
                </a:lnTo>
                <a:close/>
                <a:moveTo>
                  <a:pt x="3436906" y="98393"/>
                </a:moveTo>
                <a:lnTo>
                  <a:pt x="3377946" y="98393"/>
                </a:lnTo>
                <a:lnTo>
                  <a:pt x="3329940" y="338423"/>
                </a:lnTo>
                <a:lnTo>
                  <a:pt x="3388900" y="338423"/>
                </a:lnTo>
                <a:lnTo>
                  <a:pt x="3436906" y="98393"/>
                </a:lnTo>
                <a:close/>
                <a:moveTo>
                  <a:pt x="3328035" y="98393"/>
                </a:moveTo>
                <a:lnTo>
                  <a:pt x="3287173" y="98393"/>
                </a:lnTo>
                <a:lnTo>
                  <a:pt x="3301937" y="24289"/>
                </a:lnTo>
                <a:lnTo>
                  <a:pt x="3242977" y="24289"/>
                </a:lnTo>
                <a:lnTo>
                  <a:pt x="3228213" y="98393"/>
                </a:lnTo>
                <a:lnTo>
                  <a:pt x="3203067" y="98393"/>
                </a:lnTo>
                <a:lnTo>
                  <a:pt x="3194019" y="142970"/>
                </a:lnTo>
                <a:lnTo>
                  <a:pt x="3219164" y="142970"/>
                </a:lnTo>
                <a:lnTo>
                  <a:pt x="3194971" y="264223"/>
                </a:lnTo>
                <a:cubicBezTo>
                  <a:pt x="3194019" y="269462"/>
                  <a:pt x="3193066" y="276130"/>
                  <a:pt x="3193066" y="284702"/>
                </a:cubicBezTo>
                <a:cubicBezTo>
                  <a:pt x="3193066" y="318421"/>
                  <a:pt x="3218688" y="338328"/>
                  <a:pt x="3252883" y="338328"/>
                </a:cubicBezTo>
                <a:lnTo>
                  <a:pt x="3283268" y="338328"/>
                </a:lnTo>
                <a:lnTo>
                  <a:pt x="3293269" y="288988"/>
                </a:lnTo>
                <a:lnTo>
                  <a:pt x="3271933" y="288988"/>
                </a:lnTo>
                <a:cubicBezTo>
                  <a:pt x="3259074" y="288988"/>
                  <a:pt x="3252883" y="283750"/>
                  <a:pt x="3252883" y="273748"/>
                </a:cubicBezTo>
                <a:cubicBezTo>
                  <a:pt x="3252883" y="271367"/>
                  <a:pt x="3252883" y="269462"/>
                  <a:pt x="3253836" y="264700"/>
                </a:cubicBezTo>
                <a:lnTo>
                  <a:pt x="3278029" y="142970"/>
                </a:lnTo>
                <a:lnTo>
                  <a:pt x="3318891" y="142970"/>
                </a:lnTo>
                <a:lnTo>
                  <a:pt x="3328035" y="98393"/>
                </a:lnTo>
                <a:close/>
                <a:moveTo>
                  <a:pt x="3163062" y="118300"/>
                </a:moveTo>
                <a:cubicBezTo>
                  <a:pt x="3141726" y="96488"/>
                  <a:pt x="3116009" y="87916"/>
                  <a:pt x="3080861" y="87916"/>
                </a:cubicBezTo>
                <a:cubicBezTo>
                  <a:pt x="3045619" y="87916"/>
                  <a:pt x="3017139" y="97917"/>
                  <a:pt x="2998565" y="116396"/>
                </a:cubicBezTo>
                <a:cubicBezTo>
                  <a:pt x="2981992" y="132969"/>
                  <a:pt x="2973420" y="155353"/>
                  <a:pt x="2973420" y="178213"/>
                </a:cubicBezTo>
                <a:cubicBezTo>
                  <a:pt x="2973420" y="201549"/>
                  <a:pt x="2987707" y="226695"/>
                  <a:pt x="3032760" y="234315"/>
                </a:cubicBezTo>
                <a:lnTo>
                  <a:pt x="3065145" y="239554"/>
                </a:lnTo>
                <a:cubicBezTo>
                  <a:pt x="3079433" y="241935"/>
                  <a:pt x="3088481" y="246697"/>
                  <a:pt x="3088481" y="260032"/>
                </a:cubicBezTo>
                <a:cubicBezTo>
                  <a:pt x="3088481" y="274796"/>
                  <a:pt x="3071813" y="290894"/>
                  <a:pt x="3037999" y="290894"/>
                </a:cubicBezTo>
                <a:cubicBezTo>
                  <a:pt x="3009995" y="290894"/>
                  <a:pt x="2993327" y="281369"/>
                  <a:pt x="2981039" y="267081"/>
                </a:cubicBezTo>
                <a:lnTo>
                  <a:pt x="2938748" y="304133"/>
                </a:lnTo>
                <a:cubicBezTo>
                  <a:pt x="2960656" y="327850"/>
                  <a:pt x="2990088" y="341186"/>
                  <a:pt x="3034189" y="341186"/>
                </a:cubicBezTo>
                <a:cubicBezTo>
                  <a:pt x="3066098" y="341186"/>
                  <a:pt x="3100292" y="333565"/>
                  <a:pt x="3120295" y="314134"/>
                </a:cubicBezTo>
                <a:cubicBezTo>
                  <a:pt x="3136392" y="298513"/>
                  <a:pt x="3146870" y="278987"/>
                  <a:pt x="3146870" y="254222"/>
                </a:cubicBezTo>
                <a:cubicBezTo>
                  <a:pt x="3146870" y="220028"/>
                  <a:pt x="3131153" y="197167"/>
                  <a:pt x="3087053" y="190024"/>
                </a:cubicBezTo>
                <a:lnTo>
                  <a:pt x="3055144" y="184785"/>
                </a:lnTo>
                <a:cubicBezTo>
                  <a:pt x="3039904" y="182404"/>
                  <a:pt x="3032284" y="176689"/>
                  <a:pt x="3032284" y="166211"/>
                </a:cubicBezTo>
                <a:cubicBezTo>
                  <a:pt x="3032284" y="150971"/>
                  <a:pt x="3045619" y="136303"/>
                  <a:pt x="3075623" y="136303"/>
                </a:cubicBezTo>
                <a:cubicBezTo>
                  <a:pt x="3093244" y="136303"/>
                  <a:pt x="3111246" y="142018"/>
                  <a:pt x="3122676" y="153924"/>
                </a:cubicBezTo>
                <a:lnTo>
                  <a:pt x="3163062" y="118300"/>
                </a:lnTo>
                <a:close/>
                <a:moveTo>
                  <a:pt x="2858453" y="231934"/>
                </a:moveTo>
                <a:lnTo>
                  <a:pt x="2855595" y="246697"/>
                </a:lnTo>
                <a:cubicBezTo>
                  <a:pt x="2853214" y="259080"/>
                  <a:pt x="2848451" y="270415"/>
                  <a:pt x="2840831" y="278035"/>
                </a:cubicBezTo>
                <a:cubicBezTo>
                  <a:pt x="2831783" y="287083"/>
                  <a:pt x="2818448" y="293275"/>
                  <a:pt x="2802350" y="293275"/>
                </a:cubicBezTo>
                <a:cubicBezTo>
                  <a:pt x="2780919" y="293275"/>
                  <a:pt x="2770918" y="283750"/>
                  <a:pt x="2770918" y="269938"/>
                </a:cubicBezTo>
                <a:cubicBezTo>
                  <a:pt x="2770918" y="248031"/>
                  <a:pt x="2786634" y="231838"/>
                  <a:pt x="2813209" y="231838"/>
                </a:cubicBezTo>
                <a:lnTo>
                  <a:pt x="2858453" y="231838"/>
                </a:lnTo>
                <a:close/>
                <a:moveTo>
                  <a:pt x="2930652" y="156877"/>
                </a:moveTo>
                <a:cubicBezTo>
                  <a:pt x="2930652" y="104108"/>
                  <a:pt x="2884075" y="88011"/>
                  <a:pt x="2842736" y="88011"/>
                </a:cubicBezTo>
                <a:cubicBezTo>
                  <a:pt x="2796636" y="88011"/>
                  <a:pt x="2770918" y="100870"/>
                  <a:pt x="2751011" y="121253"/>
                </a:cubicBezTo>
                <a:lnTo>
                  <a:pt x="2781395" y="160687"/>
                </a:lnTo>
                <a:cubicBezTo>
                  <a:pt x="2793778" y="146875"/>
                  <a:pt x="2810447" y="137350"/>
                  <a:pt x="2834640" y="137350"/>
                </a:cubicBezTo>
                <a:cubicBezTo>
                  <a:pt x="2859405" y="137350"/>
                  <a:pt x="2871311" y="147352"/>
                  <a:pt x="2871311" y="164021"/>
                </a:cubicBezTo>
                <a:cubicBezTo>
                  <a:pt x="2871311" y="168783"/>
                  <a:pt x="2870835" y="172117"/>
                  <a:pt x="2869883" y="176879"/>
                </a:cubicBezTo>
                <a:lnTo>
                  <a:pt x="2866549" y="191643"/>
                </a:lnTo>
                <a:lnTo>
                  <a:pt x="2807589" y="191643"/>
                </a:lnTo>
                <a:cubicBezTo>
                  <a:pt x="2779014" y="191643"/>
                  <a:pt x="2753868" y="199263"/>
                  <a:pt x="2735390" y="217265"/>
                </a:cubicBezTo>
                <a:cubicBezTo>
                  <a:pt x="2721102" y="231457"/>
                  <a:pt x="2713101" y="251460"/>
                  <a:pt x="2713101" y="275749"/>
                </a:cubicBezTo>
                <a:cubicBezTo>
                  <a:pt x="2713101" y="313277"/>
                  <a:pt x="2740628" y="340805"/>
                  <a:pt x="2783872" y="340805"/>
                </a:cubicBezTo>
                <a:cubicBezTo>
                  <a:pt x="2811018" y="340805"/>
                  <a:pt x="2829973" y="330327"/>
                  <a:pt x="2843784" y="316611"/>
                </a:cubicBezTo>
                <a:lnTo>
                  <a:pt x="2839498" y="338423"/>
                </a:lnTo>
                <a:lnTo>
                  <a:pt x="2896076" y="338423"/>
                </a:lnTo>
                <a:lnTo>
                  <a:pt x="2928366" y="178784"/>
                </a:lnTo>
                <a:cubicBezTo>
                  <a:pt x="2929700" y="172021"/>
                  <a:pt x="2930652" y="163544"/>
                  <a:pt x="2930652" y="156877"/>
                </a:cubicBezTo>
                <a:moveTo>
                  <a:pt x="2697766" y="0"/>
                </a:moveTo>
                <a:lnTo>
                  <a:pt x="2638806" y="0"/>
                </a:lnTo>
                <a:lnTo>
                  <a:pt x="2586133" y="264223"/>
                </a:lnTo>
                <a:cubicBezTo>
                  <a:pt x="2584704" y="270891"/>
                  <a:pt x="2584228" y="277082"/>
                  <a:pt x="2584228" y="284702"/>
                </a:cubicBezTo>
                <a:cubicBezTo>
                  <a:pt x="2584228" y="318421"/>
                  <a:pt x="2609374" y="338328"/>
                  <a:pt x="2643569" y="338328"/>
                </a:cubicBezTo>
                <a:lnTo>
                  <a:pt x="2675858" y="338328"/>
                </a:lnTo>
                <a:lnTo>
                  <a:pt x="2685860" y="288512"/>
                </a:lnTo>
                <a:lnTo>
                  <a:pt x="2661666" y="288512"/>
                </a:lnTo>
                <a:cubicBezTo>
                  <a:pt x="2648807" y="288512"/>
                  <a:pt x="2643569" y="283273"/>
                  <a:pt x="2643569" y="274225"/>
                </a:cubicBezTo>
                <a:cubicBezTo>
                  <a:pt x="2643569" y="270415"/>
                  <a:pt x="2644045" y="268033"/>
                  <a:pt x="2644997" y="263747"/>
                </a:cubicBezTo>
                <a:lnTo>
                  <a:pt x="2697766" y="0"/>
                </a:lnTo>
                <a:close/>
                <a:moveTo>
                  <a:pt x="2514791" y="94583"/>
                </a:moveTo>
                <a:cubicBezTo>
                  <a:pt x="2514791" y="120301"/>
                  <a:pt x="2496217" y="151638"/>
                  <a:pt x="2455355" y="151638"/>
                </a:cubicBezTo>
                <a:lnTo>
                  <a:pt x="2399253" y="151638"/>
                </a:lnTo>
                <a:lnTo>
                  <a:pt x="2418779" y="55531"/>
                </a:lnTo>
                <a:lnTo>
                  <a:pt x="2476786" y="55531"/>
                </a:lnTo>
                <a:cubicBezTo>
                  <a:pt x="2504885" y="55531"/>
                  <a:pt x="2514791" y="73152"/>
                  <a:pt x="2514791" y="94583"/>
                </a:cubicBezTo>
                <a:moveTo>
                  <a:pt x="2578037" y="89345"/>
                </a:moveTo>
                <a:cubicBezTo>
                  <a:pt x="2578037" y="36576"/>
                  <a:pt x="2544795" y="0"/>
                  <a:pt x="2487359" y="0"/>
                </a:cubicBezTo>
                <a:lnTo>
                  <a:pt x="2367058" y="0"/>
                </a:lnTo>
                <a:lnTo>
                  <a:pt x="2299049" y="338328"/>
                </a:lnTo>
                <a:lnTo>
                  <a:pt x="2361819" y="338328"/>
                </a:lnTo>
                <a:lnTo>
                  <a:pt x="2387918" y="207169"/>
                </a:lnTo>
                <a:lnTo>
                  <a:pt x="2453069" y="207169"/>
                </a:lnTo>
                <a:cubicBezTo>
                  <a:pt x="2534317" y="207169"/>
                  <a:pt x="2578037" y="149733"/>
                  <a:pt x="2578037" y="89345"/>
                </a:cubicBezTo>
                <a:moveTo>
                  <a:pt x="2105501" y="173546"/>
                </a:moveTo>
                <a:cubicBezTo>
                  <a:pt x="2105501" y="181165"/>
                  <a:pt x="2104073" y="192596"/>
                  <a:pt x="2101215" y="207740"/>
                </a:cubicBezTo>
                <a:cubicBezTo>
                  <a:pt x="2092643" y="252413"/>
                  <a:pt x="2079307" y="275272"/>
                  <a:pt x="2048923" y="275272"/>
                </a:cubicBezTo>
                <a:cubicBezTo>
                  <a:pt x="2027111" y="275272"/>
                  <a:pt x="2019490" y="260985"/>
                  <a:pt x="2019490" y="242506"/>
                </a:cubicBezTo>
                <a:cubicBezTo>
                  <a:pt x="2019490" y="234887"/>
                  <a:pt x="2020919" y="223456"/>
                  <a:pt x="2023777" y="208312"/>
                </a:cubicBezTo>
                <a:cubicBezTo>
                  <a:pt x="2032349" y="163639"/>
                  <a:pt x="2045589" y="140779"/>
                  <a:pt x="2076069" y="140779"/>
                </a:cubicBezTo>
                <a:cubicBezTo>
                  <a:pt x="2096072" y="140684"/>
                  <a:pt x="2105501" y="152971"/>
                  <a:pt x="2105501" y="173546"/>
                </a:cubicBezTo>
                <a:lnTo>
                  <a:pt x="2105501" y="173546"/>
                </a:lnTo>
                <a:close/>
                <a:moveTo>
                  <a:pt x="2183035" y="90773"/>
                </a:moveTo>
                <a:lnTo>
                  <a:pt x="2125980" y="90773"/>
                </a:lnTo>
                <a:lnTo>
                  <a:pt x="2121218" y="115919"/>
                </a:lnTo>
                <a:cubicBezTo>
                  <a:pt x="2109788" y="97346"/>
                  <a:pt x="2090833" y="87821"/>
                  <a:pt x="2065115" y="87821"/>
                </a:cubicBezTo>
                <a:cubicBezTo>
                  <a:pt x="2042827" y="87821"/>
                  <a:pt x="2020443" y="94012"/>
                  <a:pt x="2001964" y="112490"/>
                </a:cubicBezTo>
                <a:cubicBezTo>
                  <a:pt x="1983010" y="131445"/>
                  <a:pt x="1973485" y="160020"/>
                  <a:pt x="1964912" y="207550"/>
                </a:cubicBezTo>
                <a:cubicBezTo>
                  <a:pt x="1961102" y="228505"/>
                  <a:pt x="1958721" y="246031"/>
                  <a:pt x="1958721" y="257937"/>
                </a:cubicBezTo>
                <a:cubicBezTo>
                  <a:pt x="1958721" y="304514"/>
                  <a:pt x="1990535" y="327755"/>
                  <a:pt x="2027111" y="327755"/>
                </a:cubicBezTo>
                <a:cubicBezTo>
                  <a:pt x="2051876" y="327755"/>
                  <a:pt x="2069402" y="318230"/>
                  <a:pt x="2082260" y="303086"/>
                </a:cubicBezTo>
                <a:lnTo>
                  <a:pt x="2077022" y="328231"/>
                </a:lnTo>
                <a:cubicBezTo>
                  <a:pt x="2070354" y="360140"/>
                  <a:pt x="2049494" y="381953"/>
                  <a:pt x="2016633" y="381953"/>
                </a:cubicBezTo>
                <a:cubicBezTo>
                  <a:pt x="1993392" y="381953"/>
                  <a:pt x="1982914" y="370999"/>
                  <a:pt x="1975295" y="362426"/>
                </a:cubicBezTo>
                <a:lnTo>
                  <a:pt x="1934432" y="398050"/>
                </a:lnTo>
                <a:cubicBezTo>
                  <a:pt x="1955387" y="421767"/>
                  <a:pt x="1980533" y="431768"/>
                  <a:pt x="2016633" y="431768"/>
                </a:cubicBezTo>
                <a:cubicBezTo>
                  <a:pt x="2073688" y="431768"/>
                  <a:pt x="2121218" y="400907"/>
                  <a:pt x="2135505" y="328613"/>
                </a:cubicBezTo>
                <a:lnTo>
                  <a:pt x="2183035" y="90773"/>
                </a:lnTo>
                <a:close/>
                <a:moveTo>
                  <a:pt x="1924431" y="156305"/>
                </a:moveTo>
                <a:cubicBezTo>
                  <a:pt x="1924431" y="107347"/>
                  <a:pt x="1890236" y="87916"/>
                  <a:pt x="1861280" y="87916"/>
                </a:cubicBezTo>
                <a:cubicBezTo>
                  <a:pt x="1835563" y="87916"/>
                  <a:pt x="1811846" y="97441"/>
                  <a:pt x="1796129" y="114490"/>
                </a:cubicBezTo>
                <a:lnTo>
                  <a:pt x="1800415" y="90773"/>
                </a:lnTo>
                <a:lnTo>
                  <a:pt x="1743837" y="90773"/>
                </a:lnTo>
                <a:lnTo>
                  <a:pt x="1694402" y="338328"/>
                </a:lnTo>
                <a:lnTo>
                  <a:pt x="1753362" y="338328"/>
                </a:lnTo>
                <a:lnTo>
                  <a:pt x="1783747" y="188119"/>
                </a:lnTo>
                <a:cubicBezTo>
                  <a:pt x="1791367" y="149066"/>
                  <a:pt x="1816989" y="140589"/>
                  <a:pt x="1834134" y="140589"/>
                </a:cubicBezTo>
                <a:cubicBezTo>
                  <a:pt x="1849374" y="140589"/>
                  <a:pt x="1863566" y="150114"/>
                  <a:pt x="1863566" y="171450"/>
                </a:cubicBezTo>
                <a:cubicBezTo>
                  <a:pt x="1863566" y="176213"/>
                  <a:pt x="1862614" y="181928"/>
                  <a:pt x="1861661" y="187642"/>
                </a:cubicBezTo>
                <a:lnTo>
                  <a:pt x="1831277" y="338328"/>
                </a:lnTo>
                <a:lnTo>
                  <a:pt x="1890141" y="338328"/>
                </a:lnTo>
                <a:lnTo>
                  <a:pt x="1921002" y="183832"/>
                </a:lnTo>
                <a:cubicBezTo>
                  <a:pt x="1923002" y="175831"/>
                  <a:pt x="1924431" y="165354"/>
                  <a:pt x="1924431" y="156305"/>
                </a:cubicBezTo>
                <a:moveTo>
                  <a:pt x="1702022" y="953"/>
                </a:moveTo>
                <a:lnTo>
                  <a:pt x="1641157" y="953"/>
                </a:lnTo>
                <a:lnTo>
                  <a:pt x="1631632" y="49816"/>
                </a:lnTo>
                <a:lnTo>
                  <a:pt x="1692021" y="49816"/>
                </a:lnTo>
                <a:lnTo>
                  <a:pt x="1702022" y="953"/>
                </a:lnTo>
                <a:close/>
                <a:moveTo>
                  <a:pt x="1682115" y="98393"/>
                </a:moveTo>
                <a:lnTo>
                  <a:pt x="1623155" y="98393"/>
                </a:lnTo>
                <a:lnTo>
                  <a:pt x="1575149" y="338423"/>
                </a:lnTo>
                <a:lnTo>
                  <a:pt x="1634109" y="338423"/>
                </a:lnTo>
                <a:lnTo>
                  <a:pt x="1682115" y="98393"/>
                </a:lnTo>
                <a:close/>
                <a:moveTo>
                  <a:pt x="1592199" y="111252"/>
                </a:moveTo>
                <a:cubicBezTo>
                  <a:pt x="1578864" y="95536"/>
                  <a:pt x="1563243" y="88011"/>
                  <a:pt x="1539431" y="88011"/>
                </a:cubicBezTo>
                <a:cubicBezTo>
                  <a:pt x="1513713" y="88011"/>
                  <a:pt x="1490472" y="98488"/>
                  <a:pt x="1476661" y="115062"/>
                </a:cubicBezTo>
                <a:lnTo>
                  <a:pt x="1481900" y="90869"/>
                </a:lnTo>
                <a:lnTo>
                  <a:pt x="1424845" y="90869"/>
                </a:lnTo>
                <a:lnTo>
                  <a:pt x="1375410" y="338423"/>
                </a:lnTo>
                <a:lnTo>
                  <a:pt x="1434370" y="338423"/>
                </a:lnTo>
                <a:lnTo>
                  <a:pt x="1464278" y="188690"/>
                </a:lnTo>
                <a:cubicBezTo>
                  <a:pt x="1469993" y="160115"/>
                  <a:pt x="1490853" y="141161"/>
                  <a:pt x="1514189" y="141161"/>
                </a:cubicBezTo>
                <a:cubicBezTo>
                  <a:pt x="1527048" y="141161"/>
                  <a:pt x="1535144" y="148304"/>
                  <a:pt x="1541240" y="156400"/>
                </a:cubicBezTo>
                <a:lnTo>
                  <a:pt x="1592199" y="111252"/>
                </a:lnTo>
                <a:close/>
                <a:moveTo>
                  <a:pt x="1298067" y="176308"/>
                </a:moveTo>
                <a:cubicBezTo>
                  <a:pt x="1298067" y="181546"/>
                  <a:pt x="1297591" y="187738"/>
                  <a:pt x="1296638" y="192977"/>
                </a:cubicBezTo>
                <a:lnTo>
                  <a:pt x="1205770" y="192977"/>
                </a:lnTo>
                <a:cubicBezTo>
                  <a:pt x="1216724" y="152495"/>
                  <a:pt x="1237679" y="136303"/>
                  <a:pt x="1262825" y="136303"/>
                </a:cubicBezTo>
                <a:cubicBezTo>
                  <a:pt x="1283780" y="136398"/>
                  <a:pt x="1298067" y="150209"/>
                  <a:pt x="1298067" y="176308"/>
                </a:cubicBezTo>
                <a:moveTo>
                  <a:pt x="1354074" y="176308"/>
                </a:moveTo>
                <a:cubicBezTo>
                  <a:pt x="1354074" y="122587"/>
                  <a:pt x="1318451" y="87916"/>
                  <a:pt x="1266158" y="87916"/>
                </a:cubicBezTo>
                <a:cubicBezTo>
                  <a:pt x="1180529" y="87916"/>
                  <a:pt x="1140238" y="171069"/>
                  <a:pt x="1140238" y="254222"/>
                </a:cubicBezTo>
                <a:cubicBezTo>
                  <a:pt x="1140238" y="319373"/>
                  <a:pt x="1189101" y="341186"/>
                  <a:pt x="1231964" y="341186"/>
                </a:cubicBezTo>
                <a:cubicBezTo>
                  <a:pt x="1269111" y="341186"/>
                  <a:pt x="1302830" y="328803"/>
                  <a:pt x="1328452" y="305086"/>
                </a:cubicBezTo>
                <a:lnTo>
                  <a:pt x="1297591" y="266129"/>
                </a:lnTo>
                <a:cubicBezTo>
                  <a:pt x="1280446" y="282797"/>
                  <a:pt x="1262348" y="291370"/>
                  <a:pt x="1238631" y="291370"/>
                </a:cubicBezTo>
                <a:cubicBezTo>
                  <a:pt x="1210056" y="291370"/>
                  <a:pt x="1196340" y="274225"/>
                  <a:pt x="1196340" y="249936"/>
                </a:cubicBezTo>
                <a:cubicBezTo>
                  <a:pt x="1196340" y="244221"/>
                  <a:pt x="1197293" y="238030"/>
                  <a:pt x="1198245" y="232315"/>
                </a:cubicBezTo>
                <a:lnTo>
                  <a:pt x="1346549" y="232315"/>
                </a:lnTo>
                <a:cubicBezTo>
                  <a:pt x="1350740" y="213360"/>
                  <a:pt x="1354074" y="192977"/>
                  <a:pt x="1354074" y="176308"/>
                </a:cubicBezTo>
                <a:moveTo>
                  <a:pt x="1054227" y="176308"/>
                </a:moveTo>
                <a:cubicBezTo>
                  <a:pt x="1054227" y="181546"/>
                  <a:pt x="1053751" y="187738"/>
                  <a:pt x="1052798" y="192977"/>
                </a:cubicBezTo>
                <a:lnTo>
                  <a:pt x="961930" y="192977"/>
                </a:lnTo>
                <a:cubicBezTo>
                  <a:pt x="972884" y="152495"/>
                  <a:pt x="993838" y="136303"/>
                  <a:pt x="1018984" y="136303"/>
                </a:cubicBezTo>
                <a:cubicBezTo>
                  <a:pt x="1039940" y="136398"/>
                  <a:pt x="1054227" y="150209"/>
                  <a:pt x="1054227" y="176308"/>
                </a:cubicBezTo>
                <a:moveTo>
                  <a:pt x="1110234" y="176308"/>
                </a:moveTo>
                <a:cubicBezTo>
                  <a:pt x="1110234" y="122587"/>
                  <a:pt x="1074611" y="87916"/>
                  <a:pt x="1022318" y="87916"/>
                </a:cubicBezTo>
                <a:cubicBezTo>
                  <a:pt x="936688" y="87916"/>
                  <a:pt x="896398" y="171069"/>
                  <a:pt x="896398" y="254222"/>
                </a:cubicBezTo>
                <a:cubicBezTo>
                  <a:pt x="896398" y="319373"/>
                  <a:pt x="945261" y="341186"/>
                  <a:pt x="988124" y="341186"/>
                </a:cubicBezTo>
                <a:cubicBezTo>
                  <a:pt x="1025176" y="341186"/>
                  <a:pt x="1058990" y="328803"/>
                  <a:pt x="1084612" y="305086"/>
                </a:cubicBezTo>
                <a:lnTo>
                  <a:pt x="1053751" y="266129"/>
                </a:lnTo>
                <a:cubicBezTo>
                  <a:pt x="1036606" y="282797"/>
                  <a:pt x="1018604" y="291370"/>
                  <a:pt x="994791" y="291370"/>
                </a:cubicBezTo>
                <a:cubicBezTo>
                  <a:pt x="966216" y="291370"/>
                  <a:pt x="952500" y="274225"/>
                  <a:pt x="952500" y="249936"/>
                </a:cubicBezTo>
                <a:cubicBezTo>
                  <a:pt x="952500" y="244221"/>
                  <a:pt x="953453" y="238030"/>
                  <a:pt x="954405" y="232315"/>
                </a:cubicBezTo>
                <a:lnTo>
                  <a:pt x="1102709" y="232315"/>
                </a:lnTo>
                <a:cubicBezTo>
                  <a:pt x="1106900" y="213360"/>
                  <a:pt x="1110234" y="192977"/>
                  <a:pt x="1110234" y="176308"/>
                </a:cubicBezTo>
                <a:moveTo>
                  <a:pt x="863537" y="156305"/>
                </a:moveTo>
                <a:cubicBezTo>
                  <a:pt x="863537" y="107347"/>
                  <a:pt x="829342" y="87916"/>
                  <a:pt x="800386" y="87916"/>
                </a:cubicBezTo>
                <a:cubicBezTo>
                  <a:pt x="774763" y="87916"/>
                  <a:pt x="750951" y="97441"/>
                  <a:pt x="735235" y="114490"/>
                </a:cubicBezTo>
                <a:lnTo>
                  <a:pt x="739521" y="90773"/>
                </a:lnTo>
                <a:lnTo>
                  <a:pt x="682943" y="90773"/>
                </a:lnTo>
                <a:lnTo>
                  <a:pt x="633508" y="338328"/>
                </a:lnTo>
                <a:lnTo>
                  <a:pt x="692468" y="338328"/>
                </a:lnTo>
                <a:lnTo>
                  <a:pt x="722852" y="188119"/>
                </a:lnTo>
                <a:cubicBezTo>
                  <a:pt x="730472" y="149066"/>
                  <a:pt x="756095" y="140589"/>
                  <a:pt x="773240" y="140589"/>
                </a:cubicBezTo>
                <a:cubicBezTo>
                  <a:pt x="788480" y="140589"/>
                  <a:pt x="802672" y="150114"/>
                  <a:pt x="802672" y="171450"/>
                </a:cubicBezTo>
                <a:cubicBezTo>
                  <a:pt x="802672" y="176213"/>
                  <a:pt x="801719" y="181928"/>
                  <a:pt x="800767" y="187642"/>
                </a:cubicBezTo>
                <a:lnTo>
                  <a:pt x="770382" y="338328"/>
                </a:lnTo>
                <a:lnTo>
                  <a:pt x="829247" y="338328"/>
                </a:lnTo>
                <a:lnTo>
                  <a:pt x="860108" y="183832"/>
                </a:lnTo>
                <a:cubicBezTo>
                  <a:pt x="862108" y="175831"/>
                  <a:pt x="863537" y="165354"/>
                  <a:pt x="863537" y="156305"/>
                </a:cubicBezTo>
                <a:moveTo>
                  <a:pt x="553688" y="176308"/>
                </a:moveTo>
                <a:cubicBezTo>
                  <a:pt x="553688" y="181546"/>
                  <a:pt x="552736" y="193453"/>
                  <a:pt x="548450" y="214313"/>
                </a:cubicBezTo>
                <a:cubicBezTo>
                  <a:pt x="542734" y="245269"/>
                  <a:pt x="535115" y="264700"/>
                  <a:pt x="523208" y="276130"/>
                </a:cubicBezTo>
                <a:cubicBezTo>
                  <a:pt x="515588" y="283750"/>
                  <a:pt x="505111" y="288512"/>
                  <a:pt x="492824" y="288512"/>
                </a:cubicBezTo>
                <a:cubicBezTo>
                  <a:pt x="474250" y="288512"/>
                  <a:pt x="461391" y="276606"/>
                  <a:pt x="461391" y="252889"/>
                </a:cubicBezTo>
                <a:cubicBezTo>
                  <a:pt x="461391" y="247174"/>
                  <a:pt x="462344" y="235744"/>
                  <a:pt x="466630" y="214408"/>
                </a:cubicBezTo>
                <a:cubicBezTo>
                  <a:pt x="472821" y="184023"/>
                  <a:pt x="479965" y="164497"/>
                  <a:pt x="491871" y="153067"/>
                </a:cubicBezTo>
                <a:cubicBezTo>
                  <a:pt x="499491" y="145447"/>
                  <a:pt x="510445" y="140684"/>
                  <a:pt x="522351" y="140684"/>
                </a:cubicBezTo>
                <a:cubicBezTo>
                  <a:pt x="540925" y="140684"/>
                  <a:pt x="553688" y="152019"/>
                  <a:pt x="553688" y="176308"/>
                </a:cubicBezTo>
                <a:moveTo>
                  <a:pt x="612172" y="169640"/>
                </a:moveTo>
                <a:cubicBezTo>
                  <a:pt x="612172" y="112586"/>
                  <a:pt x="569881" y="87916"/>
                  <a:pt x="528542" y="87916"/>
                </a:cubicBezTo>
                <a:cubicBezTo>
                  <a:pt x="497110" y="87916"/>
                  <a:pt x="471011" y="98393"/>
                  <a:pt x="452438" y="116396"/>
                </a:cubicBezTo>
                <a:cubicBezTo>
                  <a:pt x="430625" y="137255"/>
                  <a:pt x="418719" y="162496"/>
                  <a:pt x="408242" y="214313"/>
                </a:cubicBezTo>
                <a:cubicBezTo>
                  <a:pt x="405860" y="225742"/>
                  <a:pt x="403003" y="244316"/>
                  <a:pt x="403003" y="259461"/>
                </a:cubicBezTo>
                <a:cubicBezTo>
                  <a:pt x="403003" y="316516"/>
                  <a:pt x="445294" y="341186"/>
                  <a:pt x="487109" y="341186"/>
                </a:cubicBezTo>
                <a:cubicBezTo>
                  <a:pt x="518541" y="341186"/>
                  <a:pt x="544163" y="330708"/>
                  <a:pt x="563213" y="312706"/>
                </a:cubicBezTo>
                <a:cubicBezTo>
                  <a:pt x="584549" y="291846"/>
                  <a:pt x="596932" y="266605"/>
                  <a:pt x="607409" y="214313"/>
                </a:cubicBezTo>
                <a:cubicBezTo>
                  <a:pt x="609314" y="203454"/>
                  <a:pt x="612172" y="184880"/>
                  <a:pt x="612172" y="169640"/>
                </a:cubicBezTo>
                <a:moveTo>
                  <a:pt x="401098" y="953"/>
                </a:moveTo>
                <a:lnTo>
                  <a:pt x="340233" y="953"/>
                </a:lnTo>
                <a:lnTo>
                  <a:pt x="330708" y="49816"/>
                </a:lnTo>
                <a:lnTo>
                  <a:pt x="391096" y="49816"/>
                </a:lnTo>
                <a:lnTo>
                  <a:pt x="401098" y="953"/>
                </a:lnTo>
                <a:close/>
                <a:moveTo>
                  <a:pt x="381191" y="98393"/>
                </a:moveTo>
                <a:lnTo>
                  <a:pt x="322231" y="98393"/>
                </a:lnTo>
                <a:lnTo>
                  <a:pt x="274225" y="338423"/>
                </a:lnTo>
                <a:lnTo>
                  <a:pt x="333184" y="338423"/>
                </a:lnTo>
                <a:lnTo>
                  <a:pt x="381191" y="98393"/>
                </a:lnTo>
                <a:close/>
                <a:moveTo>
                  <a:pt x="215741" y="94583"/>
                </a:moveTo>
                <a:cubicBezTo>
                  <a:pt x="215741" y="120301"/>
                  <a:pt x="197167" y="151638"/>
                  <a:pt x="156305" y="151638"/>
                </a:cubicBezTo>
                <a:lnTo>
                  <a:pt x="100203" y="151638"/>
                </a:lnTo>
                <a:lnTo>
                  <a:pt x="119729" y="55531"/>
                </a:lnTo>
                <a:lnTo>
                  <a:pt x="177737" y="55531"/>
                </a:lnTo>
                <a:cubicBezTo>
                  <a:pt x="205835" y="55531"/>
                  <a:pt x="215741" y="73152"/>
                  <a:pt x="215741" y="94583"/>
                </a:cubicBezTo>
                <a:moveTo>
                  <a:pt x="278987" y="89345"/>
                </a:moveTo>
                <a:cubicBezTo>
                  <a:pt x="278987" y="36576"/>
                  <a:pt x="245745" y="0"/>
                  <a:pt x="188214" y="0"/>
                </a:cubicBezTo>
                <a:lnTo>
                  <a:pt x="68008" y="0"/>
                </a:lnTo>
                <a:lnTo>
                  <a:pt x="0" y="338328"/>
                </a:lnTo>
                <a:lnTo>
                  <a:pt x="62770" y="338328"/>
                </a:lnTo>
                <a:lnTo>
                  <a:pt x="88868" y="207169"/>
                </a:lnTo>
                <a:lnTo>
                  <a:pt x="154019" y="207169"/>
                </a:lnTo>
                <a:cubicBezTo>
                  <a:pt x="235267" y="207169"/>
                  <a:pt x="278987" y="149733"/>
                  <a:pt x="278987" y="89345"/>
                </a:cubicBezTo>
              </a:path>
            </a:pathLst>
          </a:custGeom>
          <a:solidFill>
            <a:srgbClr val="FF83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C169F649-B299-4402-8CA1-0155F286616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49270" y="0"/>
            <a:ext cx="8042730" cy="6858000"/>
          </a:xfrm>
          <a:custGeom>
            <a:avLst/>
            <a:gdLst>
              <a:gd name="connsiteX0" fmla="*/ 0 w 8042730"/>
              <a:gd name="connsiteY0" fmla="*/ 0 h 6858000"/>
              <a:gd name="connsiteX1" fmla="*/ 8042730 w 8042730"/>
              <a:gd name="connsiteY1" fmla="*/ 0 h 6858000"/>
              <a:gd name="connsiteX2" fmla="*/ 8042730 w 8042730"/>
              <a:gd name="connsiteY2" fmla="*/ 6858000 h 6858000"/>
              <a:gd name="connsiteX3" fmla="*/ 647700 w 8042730"/>
              <a:gd name="connsiteY3" fmla="*/ 6858000 h 6858000"/>
              <a:gd name="connsiteX4" fmla="*/ 1612900 w 8042730"/>
              <a:gd name="connsiteY4" fmla="*/ 5867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42730" h="6858000">
                <a:moveTo>
                  <a:pt x="0" y="0"/>
                </a:moveTo>
                <a:lnTo>
                  <a:pt x="8042730" y="0"/>
                </a:lnTo>
                <a:lnTo>
                  <a:pt x="8042730" y="6858000"/>
                </a:lnTo>
                <a:lnTo>
                  <a:pt x="647700" y="6858000"/>
                </a:lnTo>
                <a:lnTo>
                  <a:pt x="1612900" y="5867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08000" rIns="108000" bIns="108000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icon to insert an image</a:t>
            </a:r>
          </a:p>
        </p:txBody>
      </p:sp>
      <p:sp>
        <p:nvSpPr>
          <p:cNvPr id="27" name="Foliennummernplatzhalter 3">
            <a:extLst>
              <a:ext uri="{FF2B5EF4-FFF2-40B4-BE49-F238E27FC236}">
                <a16:creationId xmlns:a16="http://schemas.microsoft.com/office/drawing/2014/main" id="{46D625D1-F1A8-4A7D-BDDA-BDC17B3C7D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Inhaltsplatzhalter 14">
            <a:extLst>
              <a:ext uri="{FF2B5EF4-FFF2-40B4-BE49-F238E27FC236}">
                <a16:creationId xmlns:a16="http://schemas.microsoft.com/office/drawing/2014/main" id="{B76B856F-6B52-4DD6-B572-9CA9C630CDFF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3888" y="3608388"/>
            <a:ext cx="3744914" cy="2268537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B186ABA4-3225-4A2E-9520-1B8742FA48F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888" y="6076236"/>
            <a:ext cx="3744914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2" name="Regieanweisung // Allgemein">
            <a:extLst>
              <a:ext uri="{FF2B5EF4-FFF2-40B4-BE49-F238E27FC236}">
                <a16:creationId xmlns:a16="http://schemas.microsoft.com/office/drawing/2014/main" id="{C6D60E36-A931-4D36-B87C-3F5018BF5A82}"/>
              </a:ext>
            </a:extLst>
          </p:cNvPr>
          <p:cNvSpPr txBox="1"/>
          <p:nvPr userDrawn="1"/>
        </p:nvSpPr>
        <p:spPr>
          <a:xfrm rot="10800000" flipH="1" flipV="1">
            <a:off x="12345888" y="6097041"/>
            <a:ext cx="1570138" cy="760959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 vert="horz" wrap="square" lIns="72000" tIns="72000" rIns="72000" bIns="72000" rtlCol="0" anchor="b" anchorCtr="0">
            <a:sp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Please change color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of page number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White for darker pictures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Grey for lighter pictures</a:t>
            </a:r>
            <a:endParaRPr lang="en-US" sz="1000" b="1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063886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Blue 1, Picture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8107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A0F1276F-4747-4E84-868F-EFEFFA3CC7A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5363" y="2232580"/>
            <a:ext cx="3744914" cy="609398"/>
          </a:xfrm>
        </p:spPr>
        <p:txBody>
          <a:bodyPr anchor="b"/>
          <a:lstStyle>
            <a:lvl1pPr>
              <a:defRPr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</a:t>
            </a:r>
            <a:br>
              <a:rPr lang="en-US" dirty="0"/>
            </a:br>
            <a:r>
              <a:rPr lang="en-US" dirty="0"/>
              <a:t>multi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25365" y="2881894"/>
            <a:ext cx="3744914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27" name="Foliennummernplatzhalter 3">
            <a:extLst>
              <a:ext uri="{FF2B5EF4-FFF2-40B4-BE49-F238E27FC236}">
                <a16:creationId xmlns:a16="http://schemas.microsoft.com/office/drawing/2014/main" id="{46D625D1-F1A8-4A7D-BDDA-BDC17B3C7D68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4">
            <a:extLst>
              <a:ext uri="{FF2B5EF4-FFF2-40B4-BE49-F238E27FC236}">
                <a16:creationId xmlns:a16="http://schemas.microsoft.com/office/drawing/2014/main" id="{93DAFD47-7843-4ED3-B0B8-07BFF44A50A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7825365" y="3608388"/>
            <a:ext cx="3744914" cy="2268537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A7C82CDD-5C48-44F7-B08A-D80695D671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5365" y="6076236"/>
            <a:ext cx="3744914" cy="123111"/>
          </a:xfrm>
        </p:spPr>
        <p:txBody>
          <a:bodyPr anchor="b">
            <a:spAutoFit/>
          </a:bodyPr>
          <a:lstStyle>
            <a:lvl1pPr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CDF8CF07-34D6-43B5-9A30-992EACB67E1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8042730" cy="6858000"/>
          </a:xfrm>
          <a:custGeom>
            <a:avLst/>
            <a:gdLst>
              <a:gd name="connsiteX0" fmla="*/ 0 w 8042730"/>
              <a:gd name="connsiteY0" fmla="*/ 0 h 6858000"/>
              <a:gd name="connsiteX1" fmla="*/ 8042730 w 8042730"/>
              <a:gd name="connsiteY1" fmla="*/ 0 h 6858000"/>
              <a:gd name="connsiteX2" fmla="*/ 6429830 w 8042730"/>
              <a:gd name="connsiteY2" fmla="*/ 5867400 h 6858000"/>
              <a:gd name="connsiteX3" fmla="*/ 7395030 w 8042730"/>
              <a:gd name="connsiteY3" fmla="*/ 6858000 h 6858000"/>
              <a:gd name="connsiteX4" fmla="*/ 0 w 804273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42730" h="6858000">
                <a:moveTo>
                  <a:pt x="0" y="0"/>
                </a:moveTo>
                <a:lnTo>
                  <a:pt x="8042730" y="0"/>
                </a:lnTo>
                <a:lnTo>
                  <a:pt x="6429830" y="5867400"/>
                </a:lnTo>
                <a:lnTo>
                  <a:pt x="739503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108000" tIns="108000" rIns="108000" bIns="10800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en-US" dirty="0"/>
              <a:t>Click on the icon to insert an image</a:t>
            </a:r>
          </a:p>
          <a:p>
            <a:pPr marR="0" lvl="0" fontAlgn="auto">
              <a:spcAft>
                <a:spcPts val="0"/>
              </a:spcAft>
              <a:buClrTx/>
              <a:buSzTx/>
              <a:tabLst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51647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Blue 2, Picture righ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166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049F64-B2FE-408A-A7CF-A7B6E66DB8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6" y="2537279"/>
            <a:ext cx="5364165" cy="304699"/>
          </a:xfrm>
        </p:spPr>
        <p:txBody>
          <a:bodyPr anchor="b"/>
          <a:lstStyle>
            <a:lvl1pPr>
              <a:defRPr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multi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881894"/>
            <a:ext cx="5364165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768A18FA-D3D8-4764-9CF6-93701EFDF27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515100" y="0"/>
            <a:ext cx="5676900" cy="6858000"/>
          </a:xfrm>
          <a:custGeom>
            <a:avLst/>
            <a:gdLst>
              <a:gd name="connsiteX0" fmla="*/ 0 w 5676900"/>
              <a:gd name="connsiteY0" fmla="*/ 0 h 6858000"/>
              <a:gd name="connsiteX1" fmla="*/ 5676900 w 5676900"/>
              <a:gd name="connsiteY1" fmla="*/ 0 h 6858000"/>
              <a:gd name="connsiteX2" fmla="*/ 5676900 w 5676900"/>
              <a:gd name="connsiteY2" fmla="*/ 6858000 h 6858000"/>
              <a:gd name="connsiteX3" fmla="*/ 647700 w 5676900"/>
              <a:gd name="connsiteY3" fmla="*/ 6858000 h 6858000"/>
              <a:gd name="connsiteX4" fmla="*/ 1612900 w 5676900"/>
              <a:gd name="connsiteY4" fmla="*/ 58674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6900" h="6858000">
                <a:moveTo>
                  <a:pt x="0" y="0"/>
                </a:moveTo>
                <a:lnTo>
                  <a:pt x="5676900" y="0"/>
                </a:lnTo>
                <a:lnTo>
                  <a:pt x="5676900" y="6858000"/>
                </a:lnTo>
                <a:lnTo>
                  <a:pt x="647700" y="6858000"/>
                </a:lnTo>
                <a:lnTo>
                  <a:pt x="1612900" y="58674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08000" rIns="108000" bIns="108000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icon to insert an image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89A49AE-7E2F-4957-87CE-A1FA6172C6A3}"/>
              </a:ext>
            </a:extLst>
          </p:cNvPr>
          <p:cNvGrpSpPr/>
          <p:nvPr userDrawn="1"/>
        </p:nvGrpSpPr>
        <p:grpSpPr>
          <a:xfrm>
            <a:off x="623888" y="6415097"/>
            <a:ext cx="841094" cy="111909"/>
            <a:chOff x="223019" y="5512949"/>
            <a:chExt cx="2540191" cy="337977"/>
          </a:xfrm>
          <a:solidFill>
            <a:schemeClr val="bg1"/>
          </a:solidFill>
        </p:grpSpPr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EF32EC7B-018E-4679-B896-87D76E3484C8}"/>
                </a:ext>
              </a:extLst>
            </p:cNvPr>
            <p:cNvSpPr/>
            <p:nvPr/>
          </p:nvSpPr>
          <p:spPr>
            <a:xfrm>
              <a:off x="490471" y="5606744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96B88CCC-EBED-4655-AC2F-03183B237911}"/>
                </a:ext>
              </a:extLst>
            </p:cNvPr>
            <p:cNvSpPr/>
            <p:nvPr/>
          </p:nvSpPr>
          <p:spPr>
            <a:xfrm>
              <a:off x="882599" y="5611914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A4FA1148-9279-42DA-8994-8424DC237CF1}"/>
                </a:ext>
              </a:extLst>
            </p:cNvPr>
            <p:cNvSpPr/>
            <p:nvPr/>
          </p:nvSpPr>
          <p:spPr>
            <a:xfrm>
              <a:off x="1328017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B183B565-36A5-4B10-BC86-2ADC97C50F16}"/>
                </a:ext>
              </a:extLst>
            </p:cNvPr>
            <p:cNvSpPr/>
            <p:nvPr/>
          </p:nvSpPr>
          <p:spPr>
            <a:xfrm>
              <a:off x="2705755" y="5512949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03EEF87A-EB7F-4706-8256-A46001DE068F}"/>
                </a:ext>
              </a:extLst>
            </p:cNvPr>
            <p:cNvSpPr/>
            <p:nvPr/>
          </p:nvSpPr>
          <p:spPr>
            <a:xfrm>
              <a:off x="2427843" y="5606026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0534B6D7-0C36-4E1A-BB8A-6383979D42F9}"/>
                </a:ext>
              </a:extLst>
            </p:cNvPr>
            <p:cNvSpPr/>
            <p:nvPr/>
          </p:nvSpPr>
          <p:spPr>
            <a:xfrm>
              <a:off x="2651342" y="5614356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D7EE7AA3-B89D-4B25-87F5-F6E68800A5E0}"/>
                </a:ext>
              </a:extLst>
            </p:cNvPr>
            <p:cNvSpPr/>
            <p:nvPr/>
          </p:nvSpPr>
          <p:spPr>
            <a:xfrm>
              <a:off x="1914198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4C17BF44-0FB6-4461-B008-080A0F2F0C78}"/>
                </a:ext>
              </a:extLst>
            </p:cNvPr>
            <p:cNvSpPr/>
            <p:nvPr/>
          </p:nvSpPr>
          <p:spPr>
            <a:xfrm>
              <a:off x="1117732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703ECA18-4C7A-4869-8037-2CFFC6165FAF}"/>
                </a:ext>
              </a:extLst>
            </p:cNvPr>
            <p:cNvSpPr/>
            <p:nvPr/>
          </p:nvSpPr>
          <p:spPr>
            <a:xfrm>
              <a:off x="2154790" y="5521567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D72B9A1-B18F-4EC1-AD03-7A8D24D49676}"/>
                </a:ext>
              </a:extLst>
            </p:cNvPr>
            <p:cNvSpPr/>
            <p:nvPr/>
          </p:nvSpPr>
          <p:spPr>
            <a:xfrm>
              <a:off x="637269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E6003F08-7E3D-4E22-922C-363B1589A184}"/>
                </a:ext>
              </a:extLst>
            </p:cNvPr>
            <p:cNvSpPr/>
            <p:nvPr/>
          </p:nvSpPr>
          <p:spPr>
            <a:xfrm>
              <a:off x="223019" y="5521567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FD7B1C3A-37AC-4D24-A7C8-7E7B1CAF478B}"/>
                </a:ext>
              </a:extLst>
            </p:cNvPr>
            <p:cNvSpPr/>
            <p:nvPr/>
          </p:nvSpPr>
          <p:spPr>
            <a:xfrm>
              <a:off x="1579955" y="5521567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FAEA725E-D6DF-4BC8-85C2-4F21512B9F09}"/>
              </a:ext>
            </a:extLst>
          </p:cNvPr>
          <p:cNvSpPr/>
          <p:nvPr userDrawn="1"/>
        </p:nvSpPr>
        <p:spPr>
          <a:xfrm>
            <a:off x="1796103" y="6422713"/>
            <a:ext cx="1189211" cy="131809"/>
          </a:xfrm>
          <a:custGeom>
            <a:avLst/>
            <a:gdLst>
              <a:gd name="connsiteX0" fmla="*/ 3869817 w 3867150"/>
              <a:gd name="connsiteY0" fmla="*/ 118300 h 428625"/>
              <a:gd name="connsiteX1" fmla="*/ 3787617 w 3867150"/>
              <a:gd name="connsiteY1" fmla="*/ 87916 h 428625"/>
              <a:gd name="connsiteX2" fmla="*/ 3705416 w 3867150"/>
              <a:gd name="connsiteY2" fmla="*/ 116396 h 428625"/>
              <a:gd name="connsiteX3" fmla="*/ 3680270 w 3867150"/>
              <a:gd name="connsiteY3" fmla="*/ 178213 h 428625"/>
              <a:gd name="connsiteX4" fmla="*/ 3739610 w 3867150"/>
              <a:gd name="connsiteY4" fmla="*/ 234315 h 428625"/>
              <a:gd name="connsiteX5" fmla="*/ 3771995 w 3867150"/>
              <a:gd name="connsiteY5" fmla="*/ 239554 h 428625"/>
              <a:gd name="connsiteX6" fmla="*/ 3795332 w 3867150"/>
              <a:gd name="connsiteY6" fmla="*/ 260032 h 428625"/>
              <a:gd name="connsiteX7" fmla="*/ 3744944 w 3867150"/>
              <a:gd name="connsiteY7" fmla="*/ 290894 h 428625"/>
              <a:gd name="connsiteX8" fmla="*/ 3687985 w 3867150"/>
              <a:gd name="connsiteY8" fmla="*/ 267081 h 428625"/>
              <a:gd name="connsiteX9" fmla="*/ 3645694 w 3867150"/>
              <a:gd name="connsiteY9" fmla="*/ 304133 h 428625"/>
              <a:gd name="connsiteX10" fmla="*/ 3741135 w 3867150"/>
              <a:gd name="connsiteY10" fmla="*/ 341186 h 428625"/>
              <a:gd name="connsiteX11" fmla="*/ 3827145 w 3867150"/>
              <a:gd name="connsiteY11" fmla="*/ 314134 h 428625"/>
              <a:gd name="connsiteX12" fmla="*/ 3853720 w 3867150"/>
              <a:gd name="connsiteY12" fmla="*/ 254222 h 428625"/>
              <a:gd name="connsiteX13" fmla="*/ 3793903 w 3867150"/>
              <a:gd name="connsiteY13" fmla="*/ 190024 h 428625"/>
              <a:gd name="connsiteX14" fmla="*/ 3761994 w 3867150"/>
              <a:gd name="connsiteY14" fmla="*/ 184785 h 428625"/>
              <a:gd name="connsiteX15" fmla="*/ 3739134 w 3867150"/>
              <a:gd name="connsiteY15" fmla="*/ 166211 h 428625"/>
              <a:gd name="connsiteX16" fmla="*/ 3782377 w 3867150"/>
              <a:gd name="connsiteY16" fmla="*/ 136303 h 428625"/>
              <a:gd name="connsiteX17" fmla="*/ 3829431 w 3867150"/>
              <a:gd name="connsiteY17" fmla="*/ 153924 h 428625"/>
              <a:gd name="connsiteX18" fmla="*/ 3869817 w 3867150"/>
              <a:gd name="connsiteY18" fmla="*/ 118300 h 428625"/>
              <a:gd name="connsiteX19" fmla="*/ 3661220 w 3867150"/>
              <a:gd name="connsiteY19" fmla="*/ 122111 h 428625"/>
              <a:gd name="connsiteX20" fmla="*/ 3588544 w 3867150"/>
              <a:gd name="connsiteY20" fmla="*/ 87916 h 428625"/>
              <a:gd name="connsiteX21" fmla="*/ 3462623 w 3867150"/>
              <a:gd name="connsiteY21" fmla="*/ 214313 h 428625"/>
              <a:gd name="connsiteX22" fmla="*/ 3458813 w 3867150"/>
              <a:gd name="connsiteY22" fmla="*/ 252794 h 428625"/>
              <a:gd name="connsiteX23" fmla="*/ 3547586 w 3867150"/>
              <a:gd name="connsiteY23" fmla="*/ 341186 h 428625"/>
              <a:gd name="connsiteX24" fmla="*/ 3629311 w 3867150"/>
              <a:gd name="connsiteY24" fmla="*/ 309848 h 428625"/>
              <a:gd name="connsiteX25" fmla="*/ 3596545 w 3867150"/>
              <a:gd name="connsiteY25" fmla="*/ 267557 h 428625"/>
              <a:gd name="connsiteX26" fmla="*/ 3553301 w 3867150"/>
              <a:gd name="connsiteY26" fmla="*/ 288512 h 428625"/>
              <a:gd name="connsiteX27" fmla="*/ 3518154 w 3867150"/>
              <a:gd name="connsiteY27" fmla="*/ 246221 h 428625"/>
              <a:gd name="connsiteX28" fmla="*/ 3521488 w 3867150"/>
              <a:gd name="connsiteY28" fmla="*/ 214313 h 428625"/>
              <a:gd name="connsiteX29" fmla="*/ 3547586 w 3867150"/>
              <a:gd name="connsiteY29" fmla="*/ 156305 h 428625"/>
              <a:gd name="connsiteX30" fmla="*/ 3582734 w 3867150"/>
              <a:gd name="connsiteY30" fmla="*/ 140589 h 428625"/>
              <a:gd name="connsiteX31" fmla="*/ 3616928 w 3867150"/>
              <a:gd name="connsiteY31" fmla="*/ 161068 h 428625"/>
              <a:gd name="connsiteX32" fmla="*/ 3661220 w 3867150"/>
              <a:gd name="connsiteY32" fmla="*/ 122111 h 428625"/>
              <a:gd name="connsiteX33" fmla="*/ 3456813 w 3867150"/>
              <a:gd name="connsiteY33" fmla="*/ 953 h 428625"/>
              <a:gd name="connsiteX34" fmla="*/ 3395948 w 3867150"/>
              <a:gd name="connsiteY34" fmla="*/ 953 h 428625"/>
              <a:gd name="connsiteX35" fmla="*/ 3386423 w 3867150"/>
              <a:gd name="connsiteY35" fmla="*/ 49816 h 428625"/>
              <a:gd name="connsiteX36" fmla="*/ 3446812 w 3867150"/>
              <a:gd name="connsiteY36" fmla="*/ 49816 h 428625"/>
              <a:gd name="connsiteX37" fmla="*/ 3456813 w 3867150"/>
              <a:gd name="connsiteY37" fmla="*/ 953 h 428625"/>
              <a:gd name="connsiteX38" fmla="*/ 3436906 w 3867150"/>
              <a:gd name="connsiteY38" fmla="*/ 98393 h 428625"/>
              <a:gd name="connsiteX39" fmla="*/ 3377946 w 3867150"/>
              <a:gd name="connsiteY39" fmla="*/ 98393 h 428625"/>
              <a:gd name="connsiteX40" fmla="*/ 3329940 w 3867150"/>
              <a:gd name="connsiteY40" fmla="*/ 338423 h 428625"/>
              <a:gd name="connsiteX41" fmla="*/ 3388900 w 3867150"/>
              <a:gd name="connsiteY41" fmla="*/ 338423 h 428625"/>
              <a:gd name="connsiteX42" fmla="*/ 3436906 w 3867150"/>
              <a:gd name="connsiteY42" fmla="*/ 98393 h 428625"/>
              <a:gd name="connsiteX43" fmla="*/ 3328035 w 3867150"/>
              <a:gd name="connsiteY43" fmla="*/ 98393 h 428625"/>
              <a:gd name="connsiteX44" fmla="*/ 3287173 w 3867150"/>
              <a:gd name="connsiteY44" fmla="*/ 98393 h 428625"/>
              <a:gd name="connsiteX45" fmla="*/ 3301937 w 3867150"/>
              <a:gd name="connsiteY45" fmla="*/ 24289 h 428625"/>
              <a:gd name="connsiteX46" fmla="*/ 3242977 w 3867150"/>
              <a:gd name="connsiteY46" fmla="*/ 24289 h 428625"/>
              <a:gd name="connsiteX47" fmla="*/ 3228213 w 3867150"/>
              <a:gd name="connsiteY47" fmla="*/ 98393 h 428625"/>
              <a:gd name="connsiteX48" fmla="*/ 3203067 w 3867150"/>
              <a:gd name="connsiteY48" fmla="*/ 98393 h 428625"/>
              <a:gd name="connsiteX49" fmla="*/ 3194019 w 3867150"/>
              <a:gd name="connsiteY49" fmla="*/ 142970 h 428625"/>
              <a:gd name="connsiteX50" fmla="*/ 3219164 w 3867150"/>
              <a:gd name="connsiteY50" fmla="*/ 142970 h 428625"/>
              <a:gd name="connsiteX51" fmla="*/ 3194971 w 3867150"/>
              <a:gd name="connsiteY51" fmla="*/ 264223 h 428625"/>
              <a:gd name="connsiteX52" fmla="*/ 3193066 w 3867150"/>
              <a:gd name="connsiteY52" fmla="*/ 284702 h 428625"/>
              <a:gd name="connsiteX53" fmla="*/ 3252883 w 3867150"/>
              <a:gd name="connsiteY53" fmla="*/ 338328 h 428625"/>
              <a:gd name="connsiteX54" fmla="*/ 3283268 w 3867150"/>
              <a:gd name="connsiteY54" fmla="*/ 338328 h 428625"/>
              <a:gd name="connsiteX55" fmla="*/ 3293269 w 3867150"/>
              <a:gd name="connsiteY55" fmla="*/ 288988 h 428625"/>
              <a:gd name="connsiteX56" fmla="*/ 3271933 w 3867150"/>
              <a:gd name="connsiteY56" fmla="*/ 288988 h 428625"/>
              <a:gd name="connsiteX57" fmla="*/ 3252883 w 3867150"/>
              <a:gd name="connsiteY57" fmla="*/ 273748 h 428625"/>
              <a:gd name="connsiteX58" fmla="*/ 3253836 w 3867150"/>
              <a:gd name="connsiteY58" fmla="*/ 264700 h 428625"/>
              <a:gd name="connsiteX59" fmla="*/ 3278029 w 3867150"/>
              <a:gd name="connsiteY59" fmla="*/ 142970 h 428625"/>
              <a:gd name="connsiteX60" fmla="*/ 3318891 w 3867150"/>
              <a:gd name="connsiteY60" fmla="*/ 142970 h 428625"/>
              <a:gd name="connsiteX61" fmla="*/ 3328035 w 3867150"/>
              <a:gd name="connsiteY61" fmla="*/ 98393 h 428625"/>
              <a:gd name="connsiteX62" fmla="*/ 3163062 w 3867150"/>
              <a:gd name="connsiteY62" fmla="*/ 118300 h 428625"/>
              <a:gd name="connsiteX63" fmla="*/ 3080861 w 3867150"/>
              <a:gd name="connsiteY63" fmla="*/ 87916 h 428625"/>
              <a:gd name="connsiteX64" fmla="*/ 2998565 w 3867150"/>
              <a:gd name="connsiteY64" fmla="*/ 116396 h 428625"/>
              <a:gd name="connsiteX65" fmla="*/ 2973420 w 3867150"/>
              <a:gd name="connsiteY65" fmla="*/ 178213 h 428625"/>
              <a:gd name="connsiteX66" fmla="*/ 3032760 w 3867150"/>
              <a:gd name="connsiteY66" fmla="*/ 234315 h 428625"/>
              <a:gd name="connsiteX67" fmla="*/ 3065145 w 3867150"/>
              <a:gd name="connsiteY67" fmla="*/ 239554 h 428625"/>
              <a:gd name="connsiteX68" fmla="*/ 3088481 w 3867150"/>
              <a:gd name="connsiteY68" fmla="*/ 260032 h 428625"/>
              <a:gd name="connsiteX69" fmla="*/ 3037999 w 3867150"/>
              <a:gd name="connsiteY69" fmla="*/ 290894 h 428625"/>
              <a:gd name="connsiteX70" fmla="*/ 2981039 w 3867150"/>
              <a:gd name="connsiteY70" fmla="*/ 267081 h 428625"/>
              <a:gd name="connsiteX71" fmla="*/ 2938748 w 3867150"/>
              <a:gd name="connsiteY71" fmla="*/ 304133 h 428625"/>
              <a:gd name="connsiteX72" fmla="*/ 3034189 w 3867150"/>
              <a:gd name="connsiteY72" fmla="*/ 341186 h 428625"/>
              <a:gd name="connsiteX73" fmla="*/ 3120295 w 3867150"/>
              <a:gd name="connsiteY73" fmla="*/ 314134 h 428625"/>
              <a:gd name="connsiteX74" fmla="*/ 3146870 w 3867150"/>
              <a:gd name="connsiteY74" fmla="*/ 254222 h 428625"/>
              <a:gd name="connsiteX75" fmla="*/ 3087053 w 3867150"/>
              <a:gd name="connsiteY75" fmla="*/ 190024 h 428625"/>
              <a:gd name="connsiteX76" fmla="*/ 3055144 w 3867150"/>
              <a:gd name="connsiteY76" fmla="*/ 184785 h 428625"/>
              <a:gd name="connsiteX77" fmla="*/ 3032284 w 3867150"/>
              <a:gd name="connsiteY77" fmla="*/ 166211 h 428625"/>
              <a:gd name="connsiteX78" fmla="*/ 3075623 w 3867150"/>
              <a:gd name="connsiteY78" fmla="*/ 136303 h 428625"/>
              <a:gd name="connsiteX79" fmla="*/ 3122676 w 3867150"/>
              <a:gd name="connsiteY79" fmla="*/ 153924 h 428625"/>
              <a:gd name="connsiteX80" fmla="*/ 3163062 w 3867150"/>
              <a:gd name="connsiteY80" fmla="*/ 118300 h 428625"/>
              <a:gd name="connsiteX81" fmla="*/ 2858453 w 3867150"/>
              <a:gd name="connsiteY81" fmla="*/ 231934 h 428625"/>
              <a:gd name="connsiteX82" fmla="*/ 2855595 w 3867150"/>
              <a:gd name="connsiteY82" fmla="*/ 246697 h 428625"/>
              <a:gd name="connsiteX83" fmla="*/ 2840831 w 3867150"/>
              <a:gd name="connsiteY83" fmla="*/ 278035 h 428625"/>
              <a:gd name="connsiteX84" fmla="*/ 2802350 w 3867150"/>
              <a:gd name="connsiteY84" fmla="*/ 293275 h 428625"/>
              <a:gd name="connsiteX85" fmla="*/ 2770918 w 3867150"/>
              <a:gd name="connsiteY85" fmla="*/ 269938 h 428625"/>
              <a:gd name="connsiteX86" fmla="*/ 2813209 w 3867150"/>
              <a:gd name="connsiteY86" fmla="*/ 231838 h 428625"/>
              <a:gd name="connsiteX87" fmla="*/ 2858453 w 3867150"/>
              <a:gd name="connsiteY87" fmla="*/ 231838 h 428625"/>
              <a:gd name="connsiteX88" fmla="*/ 2930652 w 3867150"/>
              <a:gd name="connsiteY88" fmla="*/ 156877 h 428625"/>
              <a:gd name="connsiteX89" fmla="*/ 2842736 w 3867150"/>
              <a:gd name="connsiteY89" fmla="*/ 88011 h 428625"/>
              <a:gd name="connsiteX90" fmla="*/ 2751011 w 3867150"/>
              <a:gd name="connsiteY90" fmla="*/ 121253 h 428625"/>
              <a:gd name="connsiteX91" fmla="*/ 2781395 w 3867150"/>
              <a:gd name="connsiteY91" fmla="*/ 160687 h 428625"/>
              <a:gd name="connsiteX92" fmla="*/ 2834640 w 3867150"/>
              <a:gd name="connsiteY92" fmla="*/ 137350 h 428625"/>
              <a:gd name="connsiteX93" fmla="*/ 2871311 w 3867150"/>
              <a:gd name="connsiteY93" fmla="*/ 164021 h 428625"/>
              <a:gd name="connsiteX94" fmla="*/ 2869883 w 3867150"/>
              <a:gd name="connsiteY94" fmla="*/ 176879 h 428625"/>
              <a:gd name="connsiteX95" fmla="*/ 2866549 w 3867150"/>
              <a:gd name="connsiteY95" fmla="*/ 191643 h 428625"/>
              <a:gd name="connsiteX96" fmla="*/ 2807589 w 3867150"/>
              <a:gd name="connsiteY96" fmla="*/ 191643 h 428625"/>
              <a:gd name="connsiteX97" fmla="*/ 2735390 w 3867150"/>
              <a:gd name="connsiteY97" fmla="*/ 217265 h 428625"/>
              <a:gd name="connsiteX98" fmla="*/ 2713101 w 3867150"/>
              <a:gd name="connsiteY98" fmla="*/ 275749 h 428625"/>
              <a:gd name="connsiteX99" fmla="*/ 2783872 w 3867150"/>
              <a:gd name="connsiteY99" fmla="*/ 340805 h 428625"/>
              <a:gd name="connsiteX100" fmla="*/ 2843784 w 3867150"/>
              <a:gd name="connsiteY100" fmla="*/ 316611 h 428625"/>
              <a:gd name="connsiteX101" fmla="*/ 2839498 w 3867150"/>
              <a:gd name="connsiteY101" fmla="*/ 338423 h 428625"/>
              <a:gd name="connsiteX102" fmla="*/ 2896076 w 3867150"/>
              <a:gd name="connsiteY102" fmla="*/ 338423 h 428625"/>
              <a:gd name="connsiteX103" fmla="*/ 2928366 w 3867150"/>
              <a:gd name="connsiteY103" fmla="*/ 178784 h 428625"/>
              <a:gd name="connsiteX104" fmla="*/ 2930652 w 3867150"/>
              <a:gd name="connsiteY104" fmla="*/ 156877 h 428625"/>
              <a:gd name="connsiteX105" fmla="*/ 2697766 w 3867150"/>
              <a:gd name="connsiteY105" fmla="*/ 0 h 428625"/>
              <a:gd name="connsiteX106" fmla="*/ 2638806 w 3867150"/>
              <a:gd name="connsiteY106" fmla="*/ 0 h 428625"/>
              <a:gd name="connsiteX107" fmla="*/ 2586133 w 3867150"/>
              <a:gd name="connsiteY107" fmla="*/ 264223 h 428625"/>
              <a:gd name="connsiteX108" fmla="*/ 2584228 w 3867150"/>
              <a:gd name="connsiteY108" fmla="*/ 284702 h 428625"/>
              <a:gd name="connsiteX109" fmla="*/ 2643569 w 3867150"/>
              <a:gd name="connsiteY109" fmla="*/ 338328 h 428625"/>
              <a:gd name="connsiteX110" fmla="*/ 2675858 w 3867150"/>
              <a:gd name="connsiteY110" fmla="*/ 338328 h 428625"/>
              <a:gd name="connsiteX111" fmla="*/ 2685860 w 3867150"/>
              <a:gd name="connsiteY111" fmla="*/ 288512 h 428625"/>
              <a:gd name="connsiteX112" fmla="*/ 2661666 w 3867150"/>
              <a:gd name="connsiteY112" fmla="*/ 288512 h 428625"/>
              <a:gd name="connsiteX113" fmla="*/ 2643569 w 3867150"/>
              <a:gd name="connsiteY113" fmla="*/ 274225 h 428625"/>
              <a:gd name="connsiteX114" fmla="*/ 2644997 w 3867150"/>
              <a:gd name="connsiteY114" fmla="*/ 263747 h 428625"/>
              <a:gd name="connsiteX115" fmla="*/ 2697766 w 3867150"/>
              <a:gd name="connsiteY115" fmla="*/ 0 h 428625"/>
              <a:gd name="connsiteX116" fmla="*/ 2514791 w 3867150"/>
              <a:gd name="connsiteY116" fmla="*/ 94583 h 428625"/>
              <a:gd name="connsiteX117" fmla="*/ 2455355 w 3867150"/>
              <a:gd name="connsiteY117" fmla="*/ 151638 h 428625"/>
              <a:gd name="connsiteX118" fmla="*/ 2399253 w 3867150"/>
              <a:gd name="connsiteY118" fmla="*/ 151638 h 428625"/>
              <a:gd name="connsiteX119" fmla="*/ 2418779 w 3867150"/>
              <a:gd name="connsiteY119" fmla="*/ 55531 h 428625"/>
              <a:gd name="connsiteX120" fmla="*/ 2476786 w 3867150"/>
              <a:gd name="connsiteY120" fmla="*/ 55531 h 428625"/>
              <a:gd name="connsiteX121" fmla="*/ 2514791 w 3867150"/>
              <a:gd name="connsiteY121" fmla="*/ 94583 h 428625"/>
              <a:gd name="connsiteX122" fmla="*/ 2578037 w 3867150"/>
              <a:gd name="connsiteY122" fmla="*/ 89345 h 428625"/>
              <a:gd name="connsiteX123" fmla="*/ 2487359 w 3867150"/>
              <a:gd name="connsiteY123" fmla="*/ 0 h 428625"/>
              <a:gd name="connsiteX124" fmla="*/ 2367058 w 3867150"/>
              <a:gd name="connsiteY124" fmla="*/ 0 h 428625"/>
              <a:gd name="connsiteX125" fmla="*/ 2299049 w 3867150"/>
              <a:gd name="connsiteY125" fmla="*/ 338328 h 428625"/>
              <a:gd name="connsiteX126" fmla="*/ 2361819 w 3867150"/>
              <a:gd name="connsiteY126" fmla="*/ 338328 h 428625"/>
              <a:gd name="connsiteX127" fmla="*/ 2387918 w 3867150"/>
              <a:gd name="connsiteY127" fmla="*/ 207169 h 428625"/>
              <a:gd name="connsiteX128" fmla="*/ 2453069 w 3867150"/>
              <a:gd name="connsiteY128" fmla="*/ 207169 h 428625"/>
              <a:gd name="connsiteX129" fmla="*/ 2578037 w 3867150"/>
              <a:gd name="connsiteY129" fmla="*/ 89345 h 428625"/>
              <a:gd name="connsiteX130" fmla="*/ 2105501 w 3867150"/>
              <a:gd name="connsiteY130" fmla="*/ 173546 h 428625"/>
              <a:gd name="connsiteX131" fmla="*/ 2101215 w 3867150"/>
              <a:gd name="connsiteY131" fmla="*/ 207740 h 428625"/>
              <a:gd name="connsiteX132" fmla="*/ 2048923 w 3867150"/>
              <a:gd name="connsiteY132" fmla="*/ 275272 h 428625"/>
              <a:gd name="connsiteX133" fmla="*/ 2019490 w 3867150"/>
              <a:gd name="connsiteY133" fmla="*/ 242506 h 428625"/>
              <a:gd name="connsiteX134" fmla="*/ 2023777 w 3867150"/>
              <a:gd name="connsiteY134" fmla="*/ 208312 h 428625"/>
              <a:gd name="connsiteX135" fmla="*/ 2076069 w 3867150"/>
              <a:gd name="connsiteY135" fmla="*/ 140779 h 428625"/>
              <a:gd name="connsiteX136" fmla="*/ 2105501 w 3867150"/>
              <a:gd name="connsiteY136" fmla="*/ 173546 h 428625"/>
              <a:gd name="connsiteX137" fmla="*/ 2105501 w 3867150"/>
              <a:gd name="connsiteY137" fmla="*/ 173546 h 428625"/>
              <a:gd name="connsiteX138" fmla="*/ 2183035 w 3867150"/>
              <a:gd name="connsiteY138" fmla="*/ 90773 h 428625"/>
              <a:gd name="connsiteX139" fmla="*/ 2125980 w 3867150"/>
              <a:gd name="connsiteY139" fmla="*/ 90773 h 428625"/>
              <a:gd name="connsiteX140" fmla="*/ 2121218 w 3867150"/>
              <a:gd name="connsiteY140" fmla="*/ 115919 h 428625"/>
              <a:gd name="connsiteX141" fmla="*/ 2065115 w 3867150"/>
              <a:gd name="connsiteY141" fmla="*/ 87821 h 428625"/>
              <a:gd name="connsiteX142" fmla="*/ 2001964 w 3867150"/>
              <a:gd name="connsiteY142" fmla="*/ 112490 h 428625"/>
              <a:gd name="connsiteX143" fmla="*/ 1964912 w 3867150"/>
              <a:gd name="connsiteY143" fmla="*/ 207550 h 428625"/>
              <a:gd name="connsiteX144" fmla="*/ 1958721 w 3867150"/>
              <a:gd name="connsiteY144" fmla="*/ 257937 h 428625"/>
              <a:gd name="connsiteX145" fmla="*/ 2027111 w 3867150"/>
              <a:gd name="connsiteY145" fmla="*/ 327755 h 428625"/>
              <a:gd name="connsiteX146" fmla="*/ 2082260 w 3867150"/>
              <a:gd name="connsiteY146" fmla="*/ 303086 h 428625"/>
              <a:gd name="connsiteX147" fmla="*/ 2077022 w 3867150"/>
              <a:gd name="connsiteY147" fmla="*/ 328231 h 428625"/>
              <a:gd name="connsiteX148" fmla="*/ 2016633 w 3867150"/>
              <a:gd name="connsiteY148" fmla="*/ 381953 h 428625"/>
              <a:gd name="connsiteX149" fmla="*/ 1975295 w 3867150"/>
              <a:gd name="connsiteY149" fmla="*/ 362426 h 428625"/>
              <a:gd name="connsiteX150" fmla="*/ 1934432 w 3867150"/>
              <a:gd name="connsiteY150" fmla="*/ 398050 h 428625"/>
              <a:gd name="connsiteX151" fmla="*/ 2016633 w 3867150"/>
              <a:gd name="connsiteY151" fmla="*/ 431768 h 428625"/>
              <a:gd name="connsiteX152" fmla="*/ 2135505 w 3867150"/>
              <a:gd name="connsiteY152" fmla="*/ 328613 h 428625"/>
              <a:gd name="connsiteX153" fmla="*/ 2183035 w 3867150"/>
              <a:gd name="connsiteY153" fmla="*/ 90773 h 428625"/>
              <a:gd name="connsiteX154" fmla="*/ 1924431 w 3867150"/>
              <a:gd name="connsiteY154" fmla="*/ 156305 h 428625"/>
              <a:gd name="connsiteX155" fmla="*/ 1861280 w 3867150"/>
              <a:gd name="connsiteY155" fmla="*/ 87916 h 428625"/>
              <a:gd name="connsiteX156" fmla="*/ 1796129 w 3867150"/>
              <a:gd name="connsiteY156" fmla="*/ 114490 h 428625"/>
              <a:gd name="connsiteX157" fmla="*/ 1800415 w 3867150"/>
              <a:gd name="connsiteY157" fmla="*/ 90773 h 428625"/>
              <a:gd name="connsiteX158" fmla="*/ 1743837 w 3867150"/>
              <a:gd name="connsiteY158" fmla="*/ 90773 h 428625"/>
              <a:gd name="connsiteX159" fmla="*/ 1694402 w 3867150"/>
              <a:gd name="connsiteY159" fmla="*/ 338328 h 428625"/>
              <a:gd name="connsiteX160" fmla="*/ 1753362 w 3867150"/>
              <a:gd name="connsiteY160" fmla="*/ 338328 h 428625"/>
              <a:gd name="connsiteX161" fmla="*/ 1783747 w 3867150"/>
              <a:gd name="connsiteY161" fmla="*/ 188119 h 428625"/>
              <a:gd name="connsiteX162" fmla="*/ 1834134 w 3867150"/>
              <a:gd name="connsiteY162" fmla="*/ 140589 h 428625"/>
              <a:gd name="connsiteX163" fmla="*/ 1863566 w 3867150"/>
              <a:gd name="connsiteY163" fmla="*/ 171450 h 428625"/>
              <a:gd name="connsiteX164" fmla="*/ 1861661 w 3867150"/>
              <a:gd name="connsiteY164" fmla="*/ 187642 h 428625"/>
              <a:gd name="connsiteX165" fmla="*/ 1831277 w 3867150"/>
              <a:gd name="connsiteY165" fmla="*/ 338328 h 428625"/>
              <a:gd name="connsiteX166" fmla="*/ 1890141 w 3867150"/>
              <a:gd name="connsiteY166" fmla="*/ 338328 h 428625"/>
              <a:gd name="connsiteX167" fmla="*/ 1921002 w 3867150"/>
              <a:gd name="connsiteY167" fmla="*/ 183832 h 428625"/>
              <a:gd name="connsiteX168" fmla="*/ 1924431 w 3867150"/>
              <a:gd name="connsiteY168" fmla="*/ 156305 h 428625"/>
              <a:gd name="connsiteX169" fmla="*/ 1702022 w 3867150"/>
              <a:gd name="connsiteY169" fmla="*/ 953 h 428625"/>
              <a:gd name="connsiteX170" fmla="*/ 1641157 w 3867150"/>
              <a:gd name="connsiteY170" fmla="*/ 953 h 428625"/>
              <a:gd name="connsiteX171" fmla="*/ 1631632 w 3867150"/>
              <a:gd name="connsiteY171" fmla="*/ 49816 h 428625"/>
              <a:gd name="connsiteX172" fmla="*/ 1692021 w 3867150"/>
              <a:gd name="connsiteY172" fmla="*/ 49816 h 428625"/>
              <a:gd name="connsiteX173" fmla="*/ 1702022 w 3867150"/>
              <a:gd name="connsiteY173" fmla="*/ 953 h 428625"/>
              <a:gd name="connsiteX174" fmla="*/ 1682115 w 3867150"/>
              <a:gd name="connsiteY174" fmla="*/ 98393 h 428625"/>
              <a:gd name="connsiteX175" fmla="*/ 1623155 w 3867150"/>
              <a:gd name="connsiteY175" fmla="*/ 98393 h 428625"/>
              <a:gd name="connsiteX176" fmla="*/ 1575149 w 3867150"/>
              <a:gd name="connsiteY176" fmla="*/ 338423 h 428625"/>
              <a:gd name="connsiteX177" fmla="*/ 1634109 w 3867150"/>
              <a:gd name="connsiteY177" fmla="*/ 338423 h 428625"/>
              <a:gd name="connsiteX178" fmla="*/ 1682115 w 3867150"/>
              <a:gd name="connsiteY178" fmla="*/ 98393 h 428625"/>
              <a:gd name="connsiteX179" fmla="*/ 1592199 w 3867150"/>
              <a:gd name="connsiteY179" fmla="*/ 111252 h 428625"/>
              <a:gd name="connsiteX180" fmla="*/ 1539431 w 3867150"/>
              <a:gd name="connsiteY180" fmla="*/ 88011 h 428625"/>
              <a:gd name="connsiteX181" fmla="*/ 1476661 w 3867150"/>
              <a:gd name="connsiteY181" fmla="*/ 115062 h 428625"/>
              <a:gd name="connsiteX182" fmla="*/ 1481900 w 3867150"/>
              <a:gd name="connsiteY182" fmla="*/ 90869 h 428625"/>
              <a:gd name="connsiteX183" fmla="*/ 1424845 w 3867150"/>
              <a:gd name="connsiteY183" fmla="*/ 90869 h 428625"/>
              <a:gd name="connsiteX184" fmla="*/ 1375410 w 3867150"/>
              <a:gd name="connsiteY184" fmla="*/ 338423 h 428625"/>
              <a:gd name="connsiteX185" fmla="*/ 1434370 w 3867150"/>
              <a:gd name="connsiteY185" fmla="*/ 338423 h 428625"/>
              <a:gd name="connsiteX186" fmla="*/ 1464278 w 3867150"/>
              <a:gd name="connsiteY186" fmla="*/ 188690 h 428625"/>
              <a:gd name="connsiteX187" fmla="*/ 1514189 w 3867150"/>
              <a:gd name="connsiteY187" fmla="*/ 141161 h 428625"/>
              <a:gd name="connsiteX188" fmla="*/ 1541240 w 3867150"/>
              <a:gd name="connsiteY188" fmla="*/ 156400 h 428625"/>
              <a:gd name="connsiteX189" fmla="*/ 1592199 w 3867150"/>
              <a:gd name="connsiteY189" fmla="*/ 111252 h 428625"/>
              <a:gd name="connsiteX190" fmla="*/ 1298067 w 3867150"/>
              <a:gd name="connsiteY190" fmla="*/ 176308 h 428625"/>
              <a:gd name="connsiteX191" fmla="*/ 1296638 w 3867150"/>
              <a:gd name="connsiteY191" fmla="*/ 192977 h 428625"/>
              <a:gd name="connsiteX192" fmla="*/ 1205770 w 3867150"/>
              <a:gd name="connsiteY192" fmla="*/ 192977 h 428625"/>
              <a:gd name="connsiteX193" fmla="*/ 1262825 w 3867150"/>
              <a:gd name="connsiteY193" fmla="*/ 136303 h 428625"/>
              <a:gd name="connsiteX194" fmla="*/ 1298067 w 3867150"/>
              <a:gd name="connsiteY194" fmla="*/ 176308 h 428625"/>
              <a:gd name="connsiteX195" fmla="*/ 1354074 w 3867150"/>
              <a:gd name="connsiteY195" fmla="*/ 176308 h 428625"/>
              <a:gd name="connsiteX196" fmla="*/ 1266158 w 3867150"/>
              <a:gd name="connsiteY196" fmla="*/ 87916 h 428625"/>
              <a:gd name="connsiteX197" fmla="*/ 1140238 w 3867150"/>
              <a:gd name="connsiteY197" fmla="*/ 254222 h 428625"/>
              <a:gd name="connsiteX198" fmla="*/ 1231964 w 3867150"/>
              <a:gd name="connsiteY198" fmla="*/ 341186 h 428625"/>
              <a:gd name="connsiteX199" fmla="*/ 1328452 w 3867150"/>
              <a:gd name="connsiteY199" fmla="*/ 305086 h 428625"/>
              <a:gd name="connsiteX200" fmla="*/ 1297591 w 3867150"/>
              <a:gd name="connsiteY200" fmla="*/ 266129 h 428625"/>
              <a:gd name="connsiteX201" fmla="*/ 1238631 w 3867150"/>
              <a:gd name="connsiteY201" fmla="*/ 291370 h 428625"/>
              <a:gd name="connsiteX202" fmla="*/ 1196340 w 3867150"/>
              <a:gd name="connsiteY202" fmla="*/ 249936 h 428625"/>
              <a:gd name="connsiteX203" fmla="*/ 1198245 w 3867150"/>
              <a:gd name="connsiteY203" fmla="*/ 232315 h 428625"/>
              <a:gd name="connsiteX204" fmla="*/ 1346549 w 3867150"/>
              <a:gd name="connsiteY204" fmla="*/ 232315 h 428625"/>
              <a:gd name="connsiteX205" fmla="*/ 1354074 w 3867150"/>
              <a:gd name="connsiteY205" fmla="*/ 176308 h 428625"/>
              <a:gd name="connsiteX206" fmla="*/ 1054227 w 3867150"/>
              <a:gd name="connsiteY206" fmla="*/ 176308 h 428625"/>
              <a:gd name="connsiteX207" fmla="*/ 1052798 w 3867150"/>
              <a:gd name="connsiteY207" fmla="*/ 192977 h 428625"/>
              <a:gd name="connsiteX208" fmla="*/ 961930 w 3867150"/>
              <a:gd name="connsiteY208" fmla="*/ 192977 h 428625"/>
              <a:gd name="connsiteX209" fmla="*/ 1018984 w 3867150"/>
              <a:gd name="connsiteY209" fmla="*/ 136303 h 428625"/>
              <a:gd name="connsiteX210" fmla="*/ 1054227 w 3867150"/>
              <a:gd name="connsiteY210" fmla="*/ 176308 h 428625"/>
              <a:gd name="connsiteX211" fmla="*/ 1110234 w 3867150"/>
              <a:gd name="connsiteY211" fmla="*/ 176308 h 428625"/>
              <a:gd name="connsiteX212" fmla="*/ 1022318 w 3867150"/>
              <a:gd name="connsiteY212" fmla="*/ 87916 h 428625"/>
              <a:gd name="connsiteX213" fmla="*/ 896398 w 3867150"/>
              <a:gd name="connsiteY213" fmla="*/ 254222 h 428625"/>
              <a:gd name="connsiteX214" fmla="*/ 988124 w 3867150"/>
              <a:gd name="connsiteY214" fmla="*/ 341186 h 428625"/>
              <a:gd name="connsiteX215" fmla="*/ 1084612 w 3867150"/>
              <a:gd name="connsiteY215" fmla="*/ 305086 h 428625"/>
              <a:gd name="connsiteX216" fmla="*/ 1053751 w 3867150"/>
              <a:gd name="connsiteY216" fmla="*/ 266129 h 428625"/>
              <a:gd name="connsiteX217" fmla="*/ 994791 w 3867150"/>
              <a:gd name="connsiteY217" fmla="*/ 291370 h 428625"/>
              <a:gd name="connsiteX218" fmla="*/ 952500 w 3867150"/>
              <a:gd name="connsiteY218" fmla="*/ 249936 h 428625"/>
              <a:gd name="connsiteX219" fmla="*/ 954405 w 3867150"/>
              <a:gd name="connsiteY219" fmla="*/ 232315 h 428625"/>
              <a:gd name="connsiteX220" fmla="*/ 1102709 w 3867150"/>
              <a:gd name="connsiteY220" fmla="*/ 232315 h 428625"/>
              <a:gd name="connsiteX221" fmla="*/ 1110234 w 3867150"/>
              <a:gd name="connsiteY221" fmla="*/ 176308 h 428625"/>
              <a:gd name="connsiteX222" fmla="*/ 863537 w 3867150"/>
              <a:gd name="connsiteY222" fmla="*/ 156305 h 428625"/>
              <a:gd name="connsiteX223" fmla="*/ 800386 w 3867150"/>
              <a:gd name="connsiteY223" fmla="*/ 87916 h 428625"/>
              <a:gd name="connsiteX224" fmla="*/ 735235 w 3867150"/>
              <a:gd name="connsiteY224" fmla="*/ 114490 h 428625"/>
              <a:gd name="connsiteX225" fmla="*/ 739521 w 3867150"/>
              <a:gd name="connsiteY225" fmla="*/ 90773 h 428625"/>
              <a:gd name="connsiteX226" fmla="*/ 682943 w 3867150"/>
              <a:gd name="connsiteY226" fmla="*/ 90773 h 428625"/>
              <a:gd name="connsiteX227" fmla="*/ 633508 w 3867150"/>
              <a:gd name="connsiteY227" fmla="*/ 338328 h 428625"/>
              <a:gd name="connsiteX228" fmla="*/ 692468 w 3867150"/>
              <a:gd name="connsiteY228" fmla="*/ 338328 h 428625"/>
              <a:gd name="connsiteX229" fmla="*/ 722852 w 3867150"/>
              <a:gd name="connsiteY229" fmla="*/ 188119 h 428625"/>
              <a:gd name="connsiteX230" fmla="*/ 773240 w 3867150"/>
              <a:gd name="connsiteY230" fmla="*/ 140589 h 428625"/>
              <a:gd name="connsiteX231" fmla="*/ 802672 w 3867150"/>
              <a:gd name="connsiteY231" fmla="*/ 171450 h 428625"/>
              <a:gd name="connsiteX232" fmla="*/ 800767 w 3867150"/>
              <a:gd name="connsiteY232" fmla="*/ 187642 h 428625"/>
              <a:gd name="connsiteX233" fmla="*/ 770382 w 3867150"/>
              <a:gd name="connsiteY233" fmla="*/ 338328 h 428625"/>
              <a:gd name="connsiteX234" fmla="*/ 829247 w 3867150"/>
              <a:gd name="connsiteY234" fmla="*/ 338328 h 428625"/>
              <a:gd name="connsiteX235" fmla="*/ 860108 w 3867150"/>
              <a:gd name="connsiteY235" fmla="*/ 183832 h 428625"/>
              <a:gd name="connsiteX236" fmla="*/ 863537 w 3867150"/>
              <a:gd name="connsiteY236" fmla="*/ 156305 h 428625"/>
              <a:gd name="connsiteX237" fmla="*/ 553688 w 3867150"/>
              <a:gd name="connsiteY237" fmla="*/ 176308 h 428625"/>
              <a:gd name="connsiteX238" fmla="*/ 548450 w 3867150"/>
              <a:gd name="connsiteY238" fmla="*/ 214313 h 428625"/>
              <a:gd name="connsiteX239" fmla="*/ 523208 w 3867150"/>
              <a:gd name="connsiteY239" fmla="*/ 276130 h 428625"/>
              <a:gd name="connsiteX240" fmla="*/ 492824 w 3867150"/>
              <a:gd name="connsiteY240" fmla="*/ 288512 h 428625"/>
              <a:gd name="connsiteX241" fmla="*/ 461391 w 3867150"/>
              <a:gd name="connsiteY241" fmla="*/ 252889 h 428625"/>
              <a:gd name="connsiteX242" fmla="*/ 466630 w 3867150"/>
              <a:gd name="connsiteY242" fmla="*/ 214408 h 428625"/>
              <a:gd name="connsiteX243" fmla="*/ 491871 w 3867150"/>
              <a:gd name="connsiteY243" fmla="*/ 153067 h 428625"/>
              <a:gd name="connsiteX244" fmla="*/ 522351 w 3867150"/>
              <a:gd name="connsiteY244" fmla="*/ 140684 h 428625"/>
              <a:gd name="connsiteX245" fmla="*/ 553688 w 3867150"/>
              <a:gd name="connsiteY245" fmla="*/ 176308 h 428625"/>
              <a:gd name="connsiteX246" fmla="*/ 612172 w 3867150"/>
              <a:gd name="connsiteY246" fmla="*/ 169640 h 428625"/>
              <a:gd name="connsiteX247" fmla="*/ 528542 w 3867150"/>
              <a:gd name="connsiteY247" fmla="*/ 87916 h 428625"/>
              <a:gd name="connsiteX248" fmla="*/ 452438 w 3867150"/>
              <a:gd name="connsiteY248" fmla="*/ 116396 h 428625"/>
              <a:gd name="connsiteX249" fmla="*/ 408242 w 3867150"/>
              <a:gd name="connsiteY249" fmla="*/ 214313 h 428625"/>
              <a:gd name="connsiteX250" fmla="*/ 403003 w 3867150"/>
              <a:gd name="connsiteY250" fmla="*/ 259461 h 428625"/>
              <a:gd name="connsiteX251" fmla="*/ 487109 w 3867150"/>
              <a:gd name="connsiteY251" fmla="*/ 341186 h 428625"/>
              <a:gd name="connsiteX252" fmla="*/ 563213 w 3867150"/>
              <a:gd name="connsiteY252" fmla="*/ 312706 h 428625"/>
              <a:gd name="connsiteX253" fmla="*/ 607409 w 3867150"/>
              <a:gd name="connsiteY253" fmla="*/ 214313 h 428625"/>
              <a:gd name="connsiteX254" fmla="*/ 612172 w 3867150"/>
              <a:gd name="connsiteY254" fmla="*/ 169640 h 428625"/>
              <a:gd name="connsiteX255" fmla="*/ 401098 w 3867150"/>
              <a:gd name="connsiteY255" fmla="*/ 953 h 428625"/>
              <a:gd name="connsiteX256" fmla="*/ 340233 w 3867150"/>
              <a:gd name="connsiteY256" fmla="*/ 953 h 428625"/>
              <a:gd name="connsiteX257" fmla="*/ 330708 w 3867150"/>
              <a:gd name="connsiteY257" fmla="*/ 49816 h 428625"/>
              <a:gd name="connsiteX258" fmla="*/ 391096 w 3867150"/>
              <a:gd name="connsiteY258" fmla="*/ 49816 h 428625"/>
              <a:gd name="connsiteX259" fmla="*/ 401098 w 3867150"/>
              <a:gd name="connsiteY259" fmla="*/ 953 h 428625"/>
              <a:gd name="connsiteX260" fmla="*/ 381191 w 3867150"/>
              <a:gd name="connsiteY260" fmla="*/ 98393 h 428625"/>
              <a:gd name="connsiteX261" fmla="*/ 322231 w 3867150"/>
              <a:gd name="connsiteY261" fmla="*/ 98393 h 428625"/>
              <a:gd name="connsiteX262" fmla="*/ 274225 w 3867150"/>
              <a:gd name="connsiteY262" fmla="*/ 338423 h 428625"/>
              <a:gd name="connsiteX263" fmla="*/ 333184 w 3867150"/>
              <a:gd name="connsiteY263" fmla="*/ 338423 h 428625"/>
              <a:gd name="connsiteX264" fmla="*/ 381191 w 3867150"/>
              <a:gd name="connsiteY264" fmla="*/ 98393 h 428625"/>
              <a:gd name="connsiteX265" fmla="*/ 215741 w 3867150"/>
              <a:gd name="connsiteY265" fmla="*/ 94583 h 428625"/>
              <a:gd name="connsiteX266" fmla="*/ 156305 w 3867150"/>
              <a:gd name="connsiteY266" fmla="*/ 151638 h 428625"/>
              <a:gd name="connsiteX267" fmla="*/ 100203 w 3867150"/>
              <a:gd name="connsiteY267" fmla="*/ 151638 h 428625"/>
              <a:gd name="connsiteX268" fmla="*/ 119729 w 3867150"/>
              <a:gd name="connsiteY268" fmla="*/ 55531 h 428625"/>
              <a:gd name="connsiteX269" fmla="*/ 177737 w 3867150"/>
              <a:gd name="connsiteY269" fmla="*/ 55531 h 428625"/>
              <a:gd name="connsiteX270" fmla="*/ 215741 w 3867150"/>
              <a:gd name="connsiteY270" fmla="*/ 94583 h 428625"/>
              <a:gd name="connsiteX271" fmla="*/ 278987 w 3867150"/>
              <a:gd name="connsiteY271" fmla="*/ 89345 h 428625"/>
              <a:gd name="connsiteX272" fmla="*/ 188214 w 3867150"/>
              <a:gd name="connsiteY272" fmla="*/ 0 h 428625"/>
              <a:gd name="connsiteX273" fmla="*/ 68008 w 3867150"/>
              <a:gd name="connsiteY273" fmla="*/ 0 h 428625"/>
              <a:gd name="connsiteX274" fmla="*/ 0 w 3867150"/>
              <a:gd name="connsiteY274" fmla="*/ 338328 h 428625"/>
              <a:gd name="connsiteX275" fmla="*/ 62770 w 3867150"/>
              <a:gd name="connsiteY275" fmla="*/ 338328 h 428625"/>
              <a:gd name="connsiteX276" fmla="*/ 88868 w 3867150"/>
              <a:gd name="connsiteY276" fmla="*/ 207169 h 428625"/>
              <a:gd name="connsiteX277" fmla="*/ 154019 w 3867150"/>
              <a:gd name="connsiteY277" fmla="*/ 207169 h 428625"/>
              <a:gd name="connsiteX278" fmla="*/ 278987 w 3867150"/>
              <a:gd name="connsiteY278" fmla="*/ 8934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3867150" h="428625">
                <a:moveTo>
                  <a:pt x="3869817" y="118300"/>
                </a:moveTo>
                <a:cubicBezTo>
                  <a:pt x="3848481" y="96488"/>
                  <a:pt x="3822764" y="87916"/>
                  <a:pt x="3787617" y="87916"/>
                </a:cubicBezTo>
                <a:cubicBezTo>
                  <a:pt x="3752374" y="87916"/>
                  <a:pt x="3723894" y="97917"/>
                  <a:pt x="3705416" y="116396"/>
                </a:cubicBezTo>
                <a:cubicBezTo>
                  <a:pt x="3688842" y="132969"/>
                  <a:pt x="3680270" y="155353"/>
                  <a:pt x="3680270" y="178213"/>
                </a:cubicBezTo>
                <a:cubicBezTo>
                  <a:pt x="3680270" y="201549"/>
                  <a:pt x="3694462" y="226695"/>
                  <a:pt x="3739610" y="234315"/>
                </a:cubicBezTo>
                <a:lnTo>
                  <a:pt x="3771995" y="239554"/>
                </a:lnTo>
                <a:cubicBezTo>
                  <a:pt x="3786283" y="241935"/>
                  <a:pt x="3795332" y="246697"/>
                  <a:pt x="3795332" y="260032"/>
                </a:cubicBezTo>
                <a:cubicBezTo>
                  <a:pt x="3795332" y="274796"/>
                  <a:pt x="3778663" y="290894"/>
                  <a:pt x="3744944" y="290894"/>
                </a:cubicBezTo>
                <a:cubicBezTo>
                  <a:pt x="3716941" y="290894"/>
                  <a:pt x="3700272" y="281369"/>
                  <a:pt x="3687985" y="267081"/>
                </a:cubicBezTo>
                <a:lnTo>
                  <a:pt x="3645694" y="304133"/>
                </a:lnTo>
                <a:cubicBezTo>
                  <a:pt x="3667601" y="327850"/>
                  <a:pt x="3697034" y="341186"/>
                  <a:pt x="3741135" y="341186"/>
                </a:cubicBezTo>
                <a:cubicBezTo>
                  <a:pt x="3773043" y="341186"/>
                  <a:pt x="3807238" y="333565"/>
                  <a:pt x="3827145" y="314134"/>
                </a:cubicBezTo>
                <a:cubicBezTo>
                  <a:pt x="3843338" y="298513"/>
                  <a:pt x="3853720" y="278987"/>
                  <a:pt x="3853720" y="254222"/>
                </a:cubicBezTo>
                <a:cubicBezTo>
                  <a:pt x="3853720" y="220028"/>
                  <a:pt x="3838004" y="197167"/>
                  <a:pt x="3793903" y="190024"/>
                </a:cubicBezTo>
                <a:lnTo>
                  <a:pt x="3761994" y="184785"/>
                </a:lnTo>
                <a:cubicBezTo>
                  <a:pt x="3746754" y="182404"/>
                  <a:pt x="3739134" y="176689"/>
                  <a:pt x="3739134" y="166211"/>
                </a:cubicBezTo>
                <a:cubicBezTo>
                  <a:pt x="3739134" y="150971"/>
                  <a:pt x="3752469" y="136303"/>
                  <a:pt x="3782377" y="136303"/>
                </a:cubicBezTo>
                <a:cubicBezTo>
                  <a:pt x="3799999" y="136303"/>
                  <a:pt x="3818001" y="142018"/>
                  <a:pt x="3829431" y="153924"/>
                </a:cubicBezTo>
                <a:lnTo>
                  <a:pt x="3869817" y="118300"/>
                </a:lnTo>
                <a:close/>
                <a:moveTo>
                  <a:pt x="3661220" y="122111"/>
                </a:moveTo>
                <a:cubicBezTo>
                  <a:pt x="3646456" y="103156"/>
                  <a:pt x="3624644" y="87916"/>
                  <a:pt x="3588544" y="87916"/>
                </a:cubicBezTo>
                <a:cubicBezTo>
                  <a:pt x="3538157" y="87916"/>
                  <a:pt x="3481197" y="113538"/>
                  <a:pt x="3462623" y="214313"/>
                </a:cubicBezTo>
                <a:cubicBezTo>
                  <a:pt x="3460242" y="227171"/>
                  <a:pt x="3458813" y="240982"/>
                  <a:pt x="3458813" y="252794"/>
                </a:cubicBezTo>
                <a:cubicBezTo>
                  <a:pt x="3458813" y="311277"/>
                  <a:pt x="3500628" y="341186"/>
                  <a:pt x="3547586" y="341186"/>
                </a:cubicBezTo>
                <a:cubicBezTo>
                  <a:pt x="3579400" y="341186"/>
                  <a:pt x="3608451" y="329279"/>
                  <a:pt x="3629311" y="309848"/>
                </a:cubicBezTo>
                <a:lnTo>
                  <a:pt x="3596545" y="267557"/>
                </a:lnTo>
                <a:cubicBezTo>
                  <a:pt x="3582734" y="281369"/>
                  <a:pt x="3569875" y="288512"/>
                  <a:pt x="3553301" y="288512"/>
                </a:cubicBezTo>
                <a:cubicBezTo>
                  <a:pt x="3530441" y="288512"/>
                  <a:pt x="3518154" y="272320"/>
                  <a:pt x="3518154" y="246221"/>
                </a:cubicBezTo>
                <a:cubicBezTo>
                  <a:pt x="3518154" y="234791"/>
                  <a:pt x="3519583" y="225266"/>
                  <a:pt x="3521488" y="214313"/>
                </a:cubicBezTo>
                <a:cubicBezTo>
                  <a:pt x="3525774" y="190976"/>
                  <a:pt x="3534823" y="169640"/>
                  <a:pt x="3547586" y="156305"/>
                </a:cubicBezTo>
                <a:cubicBezTo>
                  <a:pt x="3558064" y="145352"/>
                  <a:pt x="3569970" y="140589"/>
                  <a:pt x="3582734" y="140589"/>
                </a:cubicBezTo>
                <a:cubicBezTo>
                  <a:pt x="3597497" y="140589"/>
                  <a:pt x="3607499" y="148209"/>
                  <a:pt x="3616928" y="161068"/>
                </a:cubicBezTo>
                <a:lnTo>
                  <a:pt x="3661220" y="122111"/>
                </a:lnTo>
                <a:close/>
                <a:moveTo>
                  <a:pt x="3456813" y="953"/>
                </a:moveTo>
                <a:lnTo>
                  <a:pt x="3395948" y="953"/>
                </a:lnTo>
                <a:lnTo>
                  <a:pt x="3386423" y="49816"/>
                </a:lnTo>
                <a:lnTo>
                  <a:pt x="3446812" y="49816"/>
                </a:lnTo>
                <a:lnTo>
                  <a:pt x="3456813" y="953"/>
                </a:lnTo>
                <a:close/>
                <a:moveTo>
                  <a:pt x="3436906" y="98393"/>
                </a:moveTo>
                <a:lnTo>
                  <a:pt x="3377946" y="98393"/>
                </a:lnTo>
                <a:lnTo>
                  <a:pt x="3329940" y="338423"/>
                </a:lnTo>
                <a:lnTo>
                  <a:pt x="3388900" y="338423"/>
                </a:lnTo>
                <a:lnTo>
                  <a:pt x="3436906" y="98393"/>
                </a:lnTo>
                <a:close/>
                <a:moveTo>
                  <a:pt x="3328035" y="98393"/>
                </a:moveTo>
                <a:lnTo>
                  <a:pt x="3287173" y="98393"/>
                </a:lnTo>
                <a:lnTo>
                  <a:pt x="3301937" y="24289"/>
                </a:lnTo>
                <a:lnTo>
                  <a:pt x="3242977" y="24289"/>
                </a:lnTo>
                <a:lnTo>
                  <a:pt x="3228213" y="98393"/>
                </a:lnTo>
                <a:lnTo>
                  <a:pt x="3203067" y="98393"/>
                </a:lnTo>
                <a:lnTo>
                  <a:pt x="3194019" y="142970"/>
                </a:lnTo>
                <a:lnTo>
                  <a:pt x="3219164" y="142970"/>
                </a:lnTo>
                <a:lnTo>
                  <a:pt x="3194971" y="264223"/>
                </a:lnTo>
                <a:cubicBezTo>
                  <a:pt x="3194019" y="269462"/>
                  <a:pt x="3193066" y="276130"/>
                  <a:pt x="3193066" y="284702"/>
                </a:cubicBezTo>
                <a:cubicBezTo>
                  <a:pt x="3193066" y="318421"/>
                  <a:pt x="3218688" y="338328"/>
                  <a:pt x="3252883" y="338328"/>
                </a:cubicBezTo>
                <a:lnTo>
                  <a:pt x="3283268" y="338328"/>
                </a:lnTo>
                <a:lnTo>
                  <a:pt x="3293269" y="288988"/>
                </a:lnTo>
                <a:lnTo>
                  <a:pt x="3271933" y="288988"/>
                </a:lnTo>
                <a:cubicBezTo>
                  <a:pt x="3259074" y="288988"/>
                  <a:pt x="3252883" y="283750"/>
                  <a:pt x="3252883" y="273748"/>
                </a:cubicBezTo>
                <a:cubicBezTo>
                  <a:pt x="3252883" y="271367"/>
                  <a:pt x="3252883" y="269462"/>
                  <a:pt x="3253836" y="264700"/>
                </a:cubicBezTo>
                <a:lnTo>
                  <a:pt x="3278029" y="142970"/>
                </a:lnTo>
                <a:lnTo>
                  <a:pt x="3318891" y="142970"/>
                </a:lnTo>
                <a:lnTo>
                  <a:pt x="3328035" y="98393"/>
                </a:lnTo>
                <a:close/>
                <a:moveTo>
                  <a:pt x="3163062" y="118300"/>
                </a:moveTo>
                <a:cubicBezTo>
                  <a:pt x="3141726" y="96488"/>
                  <a:pt x="3116009" y="87916"/>
                  <a:pt x="3080861" y="87916"/>
                </a:cubicBezTo>
                <a:cubicBezTo>
                  <a:pt x="3045619" y="87916"/>
                  <a:pt x="3017139" y="97917"/>
                  <a:pt x="2998565" y="116396"/>
                </a:cubicBezTo>
                <a:cubicBezTo>
                  <a:pt x="2981992" y="132969"/>
                  <a:pt x="2973420" y="155353"/>
                  <a:pt x="2973420" y="178213"/>
                </a:cubicBezTo>
                <a:cubicBezTo>
                  <a:pt x="2973420" y="201549"/>
                  <a:pt x="2987707" y="226695"/>
                  <a:pt x="3032760" y="234315"/>
                </a:cubicBezTo>
                <a:lnTo>
                  <a:pt x="3065145" y="239554"/>
                </a:lnTo>
                <a:cubicBezTo>
                  <a:pt x="3079433" y="241935"/>
                  <a:pt x="3088481" y="246697"/>
                  <a:pt x="3088481" y="260032"/>
                </a:cubicBezTo>
                <a:cubicBezTo>
                  <a:pt x="3088481" y="274796"/>
                  <a:pt x="3071813" y="290894"/>
                  <a:pt x="3037999" y="290894"/>
                </a:cubicBezTo>
                <a:cubicBezTo>
                  <a:pt x="3009995" y="290894"/>
                  <a:pt x="2993327" y="281369"/>
                  <a:pt x="2981039" y="267081"/>
                </a:cubicBezTo>
                <a:lnTo>
                  <a:pt x="2938748" y="304133"/>
                </a:lnTo>
                <a:cubicBezTo>
                  <a:pt x="2960656" y="327850"/>
                  <a:pt x="2990088" y="341186"/>
                  <a:pt x="3034189" y="341186"/>
                </a:cubicBezTo>
                <a:cubicBezTo>
                  <a:pt x="3066098" y="341186"/>
                  <a:pt x="3100292" y="333565"/>
                  <a:pt x="3120295" y="314134"/>
                </a:cubicBezTo>
                <a:cubicBezTo>
                  <a:pt x="3136392" y="298513"/>
                  <a:pt x="3146870" y="278987"/>
                  <a:pt x="3146870" y="254222"/>
                </a:cubicBezTo>
                <a:cubicBezTo>
                  <a:pt x="3146870" y="220028"/>
                  <a:pt x="3131153" y="197167"/>
                  <a:pt x="3087053" y="190024"/>
                </a:cubicBezTo>
                <a:lnTo>
                  <a:pt x="3055144" y="184785"/>
                </a:lnTo>
                <a:cubicBezTo>
                  <a:pt x="3039904" y="182404"/>
                  <a:pt x="3032284" y="176689"/>
                  <a:pt x="3032284" y="166211"/>
                </a:cubicBezTo>
                <a:cubicBezTo>
                  <a:pt x="3032284" y="150971"/>
                  <a:pt x="3045619" y="136303"/>
                  <a:pt x="3075623" y="136303"/>
                </a:cubicBezTo>
                <a:cubicBezTo>
                  <a:pt x="3093244" y="136303"/>
                  <a:pt x="3111246" y="142018"/>
                  <a:pt x="3122676" y="153924"/>
                </a:cubicBezTo>
                <a:lnTo>
                  <a:pt x="3163062" y="118300"/>
                </a:lnTo>
                <a:close/>
                <a:moveTo>
                  <a:pt x="2858453" y="231934"/>
                </a:moveTo>
                <a:lnTo>
                  <a:pt x="2855595" y="246697"/>
                </a:lnTo>
                <a:cubicBezTo>
                  <a:pt x="2853214" y="259080"/>
                  <a:pt x="2848451" y="270415"/>
                  <a:pt x="2840831" y="278035"/>
                </a:cubicBezTo>
                <a:cubicBezTo>
                  <a:pt x="2831783" y="287083"/>
                  <a:pt x="2818448" y="293275"/>
                  <a:pt x="2802350" y="293275"/>
                </a:cubicBezTo>
                <a:cubicBezTo>
                  <a:pt x="2780919" y="293275"/>
                  <a:pt x="2770918" y="283750"/>
                  <a:pt x="2770918" y="269938"/>
                </a:cubicBezTo>
                <a:cubicBezTo>
                  <a:pt x="2770918" y="248031"/>
                  <a:pt x="2786634" y="231838"/>
                  <a:pt x="2813209" y="231838"/>
                </a:cubicBezTo>
                <a:lnTo>
                  <a:pt x="2858453" y="231838"/>
                </a:lnTo>
                <a:close/>
                <a:moveTo>
                  <a:pt x="2930652" y="156877"/>
                </a:moveTo>
                <a:cubicBezTo>
                  <a:pt x="2930652" y="104108"/>
                  <a:pt x="2884075" y="88011"/>
                  <a:pt x="2842736" y="88011"/>
                </a:cubicBezTo>
                <a:cubicBezTo>
                  <a:pt x="2796636" y="88011"/>
                  <a:pt x="2770918" y="100870"/>
                  <a:pt x="2751011" y="121253"/>
                </a:cubicBezTo>
                <a:lnTo>
                  <a:pt x="2781395" y="160687"/>
                </a:lnTo>
                <a:cubicBezTo>
                  <a:pt x="2793778" y="146875"/>
                  <a:pt x="2810447" y="137350"/>
                  <a:pt x="2834640" y="137350"/>
                </a:cubicBezTo>
                <a:cubicBezTo>
                  <a:pt x="2859405" y="137350"/>
                  <a:pt x="2871311" y="147352"/>
                  <a:pt x="2871311" y="164021"/>
                </a:cubicBezTo>
                <a:cubicBezTo>
                  <a:pt x="2871311" y="168783"/>
                  <a:pt x="2870835" y="172117"/>
                  <a:pt x="2869883" y="176879"/>
                </a:cubicBezTo>
                <a:lnTo>
                  <a:pt x="2866549" y="191643"/>
                </a:lnTo>
                <a:lnTo>
                  <a:pt x="2807589" y="191643"/>
                </a:lnTo>
                <a:cubicBezTo>
                  <a:pt x="2779014" y="191643"/>
                  <a:pt x="2753868" y="199263"/>
                  <a:pt x="2735390" y="217265"/>
                </a:cubicBezTo>
                <a:cubicBezTo>
                  <a:pt x="2721102" y="231457"/>
                  <a:pt x="2713101" y="251460"/>
                  <a:pt x="2713101" y="275749"/>
                </a:cubicBezTo>
                <a:cubicBezTo>
                  <a:pt x="2713101" y="313277"/>
                  <a:pt x="2740628" y="340805"/>
                  <a:pt x="2783872" y="340805"/>
                </a:cubicBezTo>
                <a:cubicBezTo>
                  <a:pt x="2811018" y="340805"/>
                  <a:pt x="2829973" y="330327"/>
                  <a:pt x="2843784" y="316611"/>
                </a:cubicBezTo>
                <a:lnTo>
                  <a:pt x="2839498" y="338423"/>
                </a:lnTo>
                <a:lnTo>
                  <a:pt x="2896076" y="338423"/>
                </a:lnTo>
                <a:lnTo>
                  <a:pt x="2928366" y="178784"/>
                </a:lnTo>
                <a:cubicBezTo>
                  <a:pt x="2929700" y="172021"/>
                  <a:pt x="2930652" y="163544"/>
                  <a:pt x="2930652" y="156877"/>
                </a:cubicBezTo>
                <a:moveTo>
                  <a:pt x="2697766" y="0"/>
                </a:moveTo>
                <a:lnTo>
                  <a:pt x="2638806" y="0"/>
                </a:lnTo>
                <a:lnTo>
                  <a:pt x="2586133" y="264223"/>
                </a:lnTo>
                <a:cubicBezTo>
                  <a:pt x="2584704" y="270891"/>
                  <a:pt x="2584228" y="277082"/>
                  <a:pt x="2584228" y="284702"/>
                </a:cubicBezTo>
                <a:cubicBezTo>
                  <a:pt x="2584228" y="318421"/>
                  <a:pt x="2609374" y="338328"/>
                  <a:pt x="2643569" y="338328"/>
                </a:cubicBezTo>
                <a:lnTo>
                  <a:pt x="2675858" y="338328"/>
                </a:lnTo>
                <a:lnTo>
                  <a:pt x="2685860" y="288512"/>
                </a:lnTo>
                <a:lnTo>
                  <a:pt x="2661666" y="288512"/>
                </a:lnTo>
                <a:cubicBezTo>
                  <a:pt x="2648807" y="288512"/>
                  <a:pt x="2643569" y="283273"/>
                  <a:pt x="2643569" y="274225"/>
                </a:cubicBezTo>
                <a:cubicBezTo>
                  <a:pt x="2643569" y="270415"/>
                  <a:pt x="2644045" y="268033"/>
                  <a:pt x="2644997" y="263747"/>
                </a:cubicBezTo>
                <a:lnTo>
                  <a:pt x="2697766" y="0"/>
                </a:lnTo>
                <a:close/>
                <a:moveTo>
                  <a:pt x="2514791" y="94583"/>
                </a:moveTo>
                <a:cubicBezTo>
                  <a:pt x="2514791" y="120301"/>
                  <a:pt x="2496217" y="151638"/>
                  <a:pt x="2455355" y="151638"/>
                </a:cubicBezTo>
                <a:lnTo>
                  <a:pt x="2399253" y="151638"/>
                </a:lnTo>
                <a:lnTo>
                  <a:pt x="2418779" y="55531"/>
                </a:lnTo>
                <a:lnTo>
                  <a:pt x="2476786" y="55531"/>
                </a:lnTo>
                <a:cubicBezTo>
                  <a:pt x="2504885" y="55531"/>
                  <a:pt x="2514791" y="73152"/>
                  <a:pt x="2514791" y="94583"/>
                </a:cubicBezTo>
                <a:moveTo>
                  <a:pt x="2578037" y="89345"/>
                </a:moveTo>
                <a:cubicBezTo>
                  <a:pt x="2578037" y="36576"/>
                  <a:pt x="2544795" y="0"/>
                  <a:pt x="2487359" y="0"/>
                </a:cubicBezTo>
                <a:lnTo>
                  <a:pt x="2367058" y="0"/>
                </a:lnTo>
                <a:lnTo>
                  <a:pt x="2299049" y="338328"/>
                </a:lnTo>
                <a:lnTo>
                  <a:pt x="2361819" y="338328"/>
                </a:lnTo>
                <a:lnTo>
                  <a:pt x="2387918" y="207169"/>
                </a:lnTo>
                <a:lnTo>
                  <a:pt x="2453069" y="207169"/>
                </a:lnTo>
                <a:cubicBezTo>
                  <a:pt x="2534317" y="207169"/>
                  <a:pt x="2578037" y="149733"/>
                  <a:pt x="2578037" y="89345"/>
                </a:cubicBezTo>
                <a:moveTo>
                  <a:pt x="2105501" y="173546"/>
                </a:moveTo>
                <a:cubicBezTo>
                  <a:pt x="2105501" y="181165"/>
                  <a:pt x="2104073" y="192596"/>
                  <a:pt x="2101215" y="207740"/>
                </a:cubicBezTo>
                <a:cubicBezTo>
                  <a:pt x="2092643" y="252413"/>
                  <a:pt x="2079307" y="275272"/>
                  <a:pt x="2048923" y="275272"/>
                </a:cubicBezTo>
                <a:cubicBezTo>
                  <a:pt x="2027111" y="275272"/>
                  <a:pt x="2019490" y="260985"/>
                  <a:pt x="2019490" y="242506"/>
                </a:cubicBezTo>
                <a:cubicBezTo>
                  <a:pt x="2019490" y="234887"/>
                  <a:pt x="2020919" y="223456"/>
                  <a:pt x="2023777" y="208312"/>
                </a:cubicBezTo>
                <a:cubicBezTo>
                  <a:pt x="2032349" y="163639"/>
                  <a:pt x="2045589" y="140779"/>
                  <a:pt x="2076069" y="140779"/>
                </a:cubicBezTo>
                <a:cubicBezTo>
                  <a:pt x="2096072" y="140684"/>
                  <a:pt x="2105501" y="152971"/>
                  <a:pt x="2105501" y="173546"/>
                </a:cubicBezTo>
                <a:lnTo>
                  <a:pt x="2105501" y="173546"/>
                </a:lnTo>
                <a:close/>
                <a:moveTo>
                  <a:pt x="2183035" y="90773"/>
                </a:moveTo>
                <a:lnTo>
                  <a:pt x="2125980" y="90773"/>
                </a:lnTo>
                <a:lnTo>
                  <a:pt x="2121218" y="115919"/>
                </a:lnTo>
                <a:cubicBezTo>
                  <a:pt x="2109788" y="97346"/>
                  <a:pt x="2090833" y="87821"/>
                  <a:pt x="2065115" y="87821"/>
                </a:cubicBezTo>
                <a:cubicBezTo>
                  <a:pt x="2042827" y="87821"/>
                  <a:pt x="2020443" y="94012"/>
                  <a:pt x="2001964" y="112490"/>
                </a:cubicBezTo>
                <a:cubicBezTo>
                  <a:pt x="1983010" y="131445"/>
                  <a:pt x="1973485" y="160020"/>
                  <a:pt x="1964912" y="207550"/>
                </a:cubicBezTo>
                <a:cubicBezTo>
                  <a:pt x="1961102" y="228505"/>
                  <a:pt x="1958721" y="246031"/>
                  <a:pt x="1958721" y="257937"/>
                </a:cubicBezTo>
                <a:cubicBezTo>
                  <a:pt x="1958721" y="304514"/>
                  <a:pt x="1990535" y="327755"/>
                  <a:pt x="2027111" y="327755"/>
                </a:cubicBezTo>
                <a:cubicBezTo>
                  <a:pt x="2051876" y="327755"/>
                  <a:pt x="2069402" y="318230"/>
                  <a:pt x="2082260" y="303086"/>
                </a:cubicBezTo>
                <a:lnTo>
                  <a:pt x="2077022" y="328231"/>
                </a:lnTo>
                <a:cubicBezTo>
                  <a:pt x="2070354" y="360140"/>
                  <a:pt x="2049494" y="381953"/>
                  <a:pt x="2016633" y="381953"/>
                </a:cubicBezTo>
                <a:cubicBezTo>
                  <a:pt x="1993392" y="381953"/>
                  <a:pt x="1982914" y="370999"/>
                  <a:pt x="1975295" y="362426"/>
                </a:cubicBezTo>
                <a:lnTo>
                  <a:pt x="1934432" y="398050"/>
                </a:lnTo>
                <a:cubicBezTo>
                  <a:pt x="1955387" y="421767"/>
                  <a:pt x="1980533" y="431768"/>
                  <a:pt x="2016633" y="431768"/>
                </a:cubicBezTo>
                <a:cubicBezTo>
                  <a:pt x="2073688" y="431768"/>
                  <a:pt x="2121218" y="400907"/>
                  <a:pt x="2135505" y="328613"/>
                </a:cubicBezTo>
                <a:lnTo>
                  <a:pt x="2183035" y="90773"/>
                </a:lnTo>
                <a:close/>
                <a:moveTo>
                  <a:pt x="1924431" y="156305"/>
                </a:moveTo>
                <a:cubicBezTo>
                  <a:pt x="1924431" y="107347"/>
                  <a:pt x="1890236" y="87916"/>
                  <a:pt x="1861280" y="87916"/>
                </a:cubicBezTo>
                <a:cubicBezTo>
                  <a:pt x="1835563" y="87916"/>
                  <a:pt x="1811846" y="97441"/>
                  <a:pt x="1796129" y="114490"/>
                </a:cubicBezTo>
                <a:lnTo>
                  <a:pt x="1800415" y="90773"/>
                </a:lnTo>
                <a:lnTo>
                  <a:pt x="1743837" y="90773"/>
                </a:lnTo>
                <a:lnTo>
                  <a:pt x="1694402" y="338328"/>
                </a:lnTo>
                <a:lnTo>
                  <a:pt x="1753362" y="338328"/>
                </a:lnTo>
                <a:lnTo>
                  <a:pt x="1783747" y="188119"/>
                </a:lnTo>
                <a:cubicBezTo>
                  <a:pt x="1791367" y="149066"/>
                  <a:pt x="1816989" y="140589"/>
                  <a:pt x="1834134" y="140589"/>
                </a:cubicBezTo>
                <a:cubicBezTo>
                  <a:pt x="1849374" y="140589"/>
                  <a:pt x="1863566" y="150114"/>
                  <a:pt x="1863566" y="171450"/>
                </a:cubicBezTo>
                <a:cubicBezTo>
                  <a:pt x="1863566" y="176213"/>
                  <a:pt x="1862614" y="181928"/>
                  <a:pt x="1861661" y="187642"/>
                </a:cubicBezTo>
                <a:lnTo>
                  <a:pt x="1831277" y="338328"/>
                </a:lnTo>
                <a:lnTo>
                  <a:pt x="1890141" y="338328"/>
                </a:lnTo>
                <a:lnTo>
                  <a:pt x="1921002" y="183832"/>
                </a:lnTo>
                <a:cubicBezTo>
                  <a:pt x="1923002" y="175831"/>
                  <a:pt x="1924431" y="165354"/>
                  <a:pt x="1924431" y="156305"/>
                </a:cubicBezTo>
                <a:moveTo>
                  <a:pt x="1702022" y="953"/>
                </a:moveTo>
                <a:lnTo>
                  <a:pt x="1641157" y="953"/>
                </a:lnTo>
                <a:lnTo>
                  <a:pt x="1631632" y="49816"/>
                </a:lnTo>
                <a:lnTo>
                  <a:pt x="1692021" y="49816"/>
                </a:lnTo>
                <a:lnTo>
                  <a:pt x="1702022" y="953"/>
                </a:lnTo>
                <a:close/>
                <a:moveTo>
                  <a:pt x="1682115" y="98393"/>
                </a:moveTo>
                <a:lnTo>
                  <a:pt x="1623155" y="98393"/>
                </a:lnTo>
                <a:lnTo>
                  <a:pt x="1575149" y="338423"/>
                </a:lnTo>
                <a:lnTo>
                  <a:pt x="1634109" y="338423"/>
                </a:lnTo>
                <a:lnTo>
                  <a:pt x="1682115" y="98393"/>
                </a:lnTo>
                <a:close/>
                <a:moveTo>
                  <a:pt x="1592199" y="111252"/>
                </a:moveTo>
                <a:cubicBezTo>
                  <a:pt x="1578864" y="95536"/>
                  <a:pt x="1563243" y="88011"/>
                  <a:pt x="1539431" y="88011"/>
                </a:cubicBezTo>
                <a:cubicBezTo>
                  <a:pt x="1513713" y="88011"/>
                  <a:pt x="1490472" y="98488"/>
                  <a:pt x="1476661" y="115062"/>
                </a:cubicBezTo>
                <a:lnTo>
                  <a:pt x="1481900" y="90869"/>
                </a:lnTo>
                <a:lnTo>
                  <a:pt x="1424845" y="90869"/>
                </a:lnTo>
                <a:lnTo>
                  <a:pt x="1375410" y="338423"/>
                </a:lnTo>
                <a:lnTo>
                  <a:pt x="1434370" y="338423"/>
                </a:lnTo>
                <a:lnTo>
                  <a:pt x="1464278" y="188690"/>
                </a:lnTo>
                <a:cubicBezTo>
                  <a:pt x="1469993" y="160115"/>
                  <a:pt x="1490853" y="141161"/>
                  <a:pt x="1514189" y="141161"/>
                </a:cubicBezTo>
                <a:cubicBezTo>
                  <a:pt x="1527048" y="141161"/>
                  <a:pt x="1535144" y="148304"/>
                  <a:pt x="1541240" y="156400"/>
                </a:cubicBezTo>
                <a:lnTo>
                  <a:pt x="1592199" y="111252"/>
                </a:lnTo>
                <a:close/>
                <a:moveTo>
                  <a:pt x="1298067" y="176308"/>
                </a:moveTo>
                <a:cubicBezTo>
                  <a:pt x="1298067" y="181546"/>
                  <a:pt x="1297591" y="187738"/>
                  <a:pt x="1296638" y="192977"/>
                </a:cubicBezTo>
                <a:lnTo>
                  <a:pt x="1205770" y="192977"/>
                </a:lnTo>
                <a:cubicBezTo>
                  <a:pt x="1216724" y="152495"/>
                  <a:pt x="1237679" y="136303"/>
                  <a:pt x="1262825" y="136303"/>
                </a:cubicBezTo>
                <a:cubicBezTo>
                  <a:pt x="1283780" y="136398"/>
                  <a:pt x="1298067" y="150209"/>
                  <a:pt x="1298067" y="176308"/>
                </a:cubicBezTo>
                <a:moveTo>
                  <a:pt x="1354074" y="176308"/>
                </a:moveTo>
                <a:cubicBezTo>
                  <a:pt x="1354074" y="122587"/>
                  <a:pt x="1318451" y="87916"/>
                  <a:pt x="1266158" y="87916"/>
                </a:cubicBezTo>
                <a:cubicBezTo>
                  <a:pt x="1180529" y="87916"/>
                  <a:pt x="1140238" y="171069"/>
                  <a:pt x="1140238" y="254222"/>
                </a:cubicBezTo>
                <a:cubicBezTo>
                  <a:pt x="1140238" y="319373"/>
                  <a:pt x="1189101" y="341186"/>
                  <a:pt x="1231964" y="341186"/>
                </a:cubicBezTo>
                <a:cubicBezTo>
                  <a:pt x="1269111" y="341186"/>
                  <a:pt x="1302830" y="328803"/>
                  <a:pt x="1328452" y="305086"/>
                </a:cubicBezTo>
                <a:lnTo>
                  <a:pt x="1297591" y="266129"/>
                </a:lnTo>
                <a:cubicBezTo>
                  <a:pt x="1280446" y="282797"/>
                  <a:pt x="1262348" y="291370"/>
                  <a:pt x="1238631" y="291370"/>
                </a:cubicBezTo>
                <a:cubicBezTo>
                  <a:pt x="1210056" y="291370"/>
                  <a:pt x="1196340" y="274225"/>
                  <a:pt x="1196340" y="249936"/>
                </a:cubicBezTo>
                <a:cubicBezTo>
                  <a:pt x="1196340" y="244221"/>
                  <a:pt x="1197293" y="238030"/>
                  <a:pt x="1198245" y="232315"/>
                </a:cubicBezTo>
                <a:lnTo>
                  <a:pt x="1346549" y="232315"/>
                </a:lnTo>
                <a:cubicBezTo>
                  <a:pt x="1350740" y="213360"/>
                  <a:pt x="1354074" y="192977"/>
                  <a:pt x="1354074" y="176308"/>
                </a:cubicBezTo>
                <a:moveTo>
                  <a:pt x="1054227" y="176308"/>
                </a:moveTo>
                <a:cubicBezTo>
                  <a:pt x="1054227" y="181546"/>
                  <a:pt x="1053751" y="187738"/>
                  <a:pt x="1052798" y="192977"/>
                </a:cubicBezTo>
                <a:lnTo>
                  <a:pt x="961930" y="192977"/>
                </a:lnTo>
                <a:cubicBezTo>
                  <a:pt x="972884" y="152495"/>
                  <a:pt x="993838" y="136303"/>
                  <a:pt x="1018984" y="136303"/>
                </a:cubicBezTo>
                <a:cubicBezTo>
                  <a:pt x="1039940" y="136398"/>
                  <a:pt x="1054227" y="150209"/>
                  <a:pt x="1054227" y="176308"/>
                </a:cubicBezTo>
                <a:moveTo>
                  <a:pt x="1110234" y="176308"/>
                </a:moveTo>
                <a:cubicBezTo>
                  <a:pt x="1110234" y="122587"/>
                  <a:pt x="1074611" y="87916"/>
                  <a:pt x="1022318" y="87916"/>
                </a:cubicBezTo>
                <a:cubicBezTo>
                  <a:pt x="936688" y="87916"/>
                  <a:pt x="896398" y="171069"/>
                  <a:pt x="896398" y="254222"/>
                </a:cubicBezTo>
                <a:cubicBezTo>
                  <a:pt x="896398" y="319373"/>
                  <a:pt x="945261" y="341186"/>
                  <a:pt x="988124" y="341186"/>
                </a:cubicBezTo>
                <a:cubicBezTo>
                  <a:pt x="1025176" y="341186"/>
                  <a:pt x="1058990" y="328803"/>
                  <a:pt x="1084612" y="305086"/>
                </a:cubicBezTo>
                <a:lnTo>
                  <a:pt x="1053751" y="266129"/>
                </a:lnTo>
                <a:cubicBezTo>
                  <a:pt x="1036606" y="282797"/>
                  <a:pt x="1018604" y="291370"/>
                  <a:pt x="994791" y="291370"/>
                </a:cubicBezTo>
                <a:cubicBezTo>
                  <a:pt x="966216" y="291370"/>
                  <a:pt x="952500" y="274225"/>
                  <a:pt x="952500" y="249936"/>
                </a:cubicBezTo>
                <a:cubicBezTo>
                  <a:pt x="952500" y="244221"/>
                  <a:pt x="953453" y="238030"/>
                  <a:pt x="954405" y="232315"/>
                </a:cubicBezTo>
                <a:lnTo>
                  <a:pt x="1102709" y="232315"/>
                </a:lnTo>
                <a:cubicBezTo>
                  <a:pt x="1106900" y="213360"/>
                  <a:pt x="1110234" y="192977"/>
                  <a:pt x="1110234" y="176308"/>
                </a:cubicBezTo>
                <a:moveTo>
                  <a:pt x="863537" y="156305"/>
                </a:moveTo>
                <a:cubicBezTo>
                  <a:pt x="863537" y="107347"/>
                  <a:pt x="829342" y="87916"/>
                  <a:pt x="800386" y="87916"/>
                </a:cubicBezTo>
                <a:cubicBezTo>
                  <a:pt x="774763" y="87916"/>
                  <a:pt x="750951" y="97441"/>
                  <a:pt x="735235" y="114490"/>
                </a:cubicBezTo>
                <a:lnTo>
                  <a:pt x="739521" y="90773"/>
                </a:lnTo>
                <a:lnTo>
                  <a:pt x="682943" y="90773"/>
                </a:lnTo>
                <a:lnTo>
                  <a:pt x="633508" y="338328"/>
                </a:lnTo>
                <a:lnTo>
                  <a:pt x="692468" y="338328"/>
                </a:lnTo>
                <a:lnTo>
                  <a:pt x="722852" y="188119"/>
                </a:lnTo>
                <a:cubicBezTo>
                  <a:pt x="730472" y="149066"/>
                  <a:pt x="756095" y="140589"/>
                  <a:pt x="773240" y="140589"/>
                </a:cubicBezTo>
                <a:cubicBezTo>
                  <a:pt x="788480" y="140589"/>
                  <a:pt x="802672" y="150114"/>
                  <a:pt x="802672" y="171450"/>
                </a:cubicBezTo>
                <a:cubicBezTo>
                  <a:pt x="802672" y="176213"/>
                  <a:pt x="801719" y="181928"/>
                  <a:pt x="800767" y="187642"/>
                </a:cubicBezTo>
                <a:lnTo>
                  <a:pt x="770382" y="338328"/>
                </a:lnTo>
                <a:lnTo>
                  <a:pt x="829247" y="338328"/>
                </a:lnTo>
                <a:lnTo>
                  <a:pt x="860108" y="183832"/>
                </a:lnTo>
                <a:cubicBezTo>
                  <a:pt x="862108" y="175831"/>
                  <a:pt x="863537" y="165354"/>
                  <a:pt x="863537" y="156305"/>
                </a:cubicBezTo>
                <a:moveTo>
                  <a:pt x="553688" y="176308"/>
                </a:moveTo>
                <a:cubicBezTo>
                  <a:pt x="553688" y="181546"/>
                  <a:pt x="552736" y="193453"/>
                  <a:pt x="548450" y="214313"/>
                </a:cubicBezTo>
                <a:cubicBezTo>
                  <a:pt x="542734" y="245269"/>
                  <a:pt x="535115" y="264700"/>
                  <a:pt x="523208" y="276130"/>
                </a:cubicBezTo>
                <a:cubicBezTo>
                  <a:pt x="515588" y="283750"/>
                  <a:pt x="505111" y="288512"/>
                  <a:pt x="492824" y="288512"/>
                </a:cubicBezTo>
                <a:cubicBezTo>
                  <a:pt x="474250" y="288512"/>
                  <a:pt x="461391" y="276606"/>
                  <a:pt x="461391" y="252889"/>
                </a:cubicBezTo>
                <a:cubicBezTo>
                  <a:pt x="461391" y="247174"/>
                  <a:pt x="462344" y="235744"/>
                  <a:pt x="466630" y="214408"/>
                </a:cubicBezTo>
                <a:cubicBezTo>
                  <a:pt x="472821" y="184023"/>
                  <a:pt x="479965" y="164497"/>
                  <a:pt x="491871" y="153067"/>
                </a:cubicBezTo>
                <a:cubicBezTo>
                  <a:pt x="499491" y="145447"/>
                  <a:pt x="510445" y="140684"/>
                  <a:pt x="522351" y="140684"/>
                </a:cubicBezTo>
                <a:cubicBezTo>
                  <a:pt x="540925" y="140684"/>
                  <a:pt x="553688" y="152019"/>
                  <a:pt x="553688" y="176308"/>
                </a:cubicBezTo>
                <a:moveTo>
                  <a:pt x="612172" y="169640"/>
                </a:moveTo>
                <a:cubicBezTo>
                  <a:pt x="612172" y="112586"/>
                  <a:pt x="569881" y="87916"/>
                  <a:pt x="528542" y="87916"/>
                </a:cubicBezTo>
                <a:cubicBezTo>
                  <a:pt x="497110" y="87916"/>
                  <a:pt x="471011" y="98393"/>
                  <a:pt x="452438" y="116396"/>
                </a:cubicBezTo>
                <a:cubicBezTo>
                  <a:pt x="430625" y="137255"/>
                  <a:pt x="418719" y="162496"/>
                  <a:pt x="408242" y="214313"/>
                </a:cubicBezTo>
                <a:cubicBezTo>
                  <a:pt x="405860" y="225742"/>
                  <a:pt x="403003" y="244316"/>
                  <a:pt x="403003" y="259461"/>
                </a:cubicBezTo>
                <a:cubicBezTo>
                  <a:pt x="403003" y="316516"/>
                  <a:pt x="445294" y="341186"/>
                  <a:pt x="487109" y="341186"/>
                </a:cubicBezTo>
                <a:cubicBezTo>
                  <a:pt x="518541" y="341186"/>
                  <a:pt x="544163" y="330708"/>
                  <a:pt x="563213" y="312706"/>
                </a:cubicBezTo>
                <a:cubicBezTo>
                  <a:pt x="584549" y="291846"/>
                  <a:pt x="596932" y="266605"/>
                  <a:pt x="607409" y="214313"/>
                </a:cubicBezTo>
                <a:cubicBezTo>
                  <a:pt x="609314" y="203454"/>
                  <a:pt x="612172" y="184880"/>
                  <a:pt x="612172" y="169640"/>
                </a:cubicBezTo>
                <a:moveTo>
                  <a:pt x="401098" y="953"/>
                </a:moveTo>
                <a:lnTo>
                  <a:pt x="340233" y="953"/>
                </a:lnTo>
                <a:lnTo>
                  <a:pt x="330708" y="49816"/>
                </a:lnTo>
                <a:lnTo>
                  <a:pt x="391096" y="49816"/>
                </a:lnTo>
                <a:lnTo>
                  <a:pt x="401098" y="953"/>
                </a:lnTo>
                <a:close/>
                <a:moveTo>
                  <a:pt x="381191" y="98393"/>
                </a:moveTo>
                <a:lnTo>
                  <a:pt x="322231" y="98393"/>
                </a:lnTo>
                <a:lnTo>
                  <a:pt x="274225" y="338423"/>
                </a:lnTo>
                <a:lnTo>
                  <a:pt x="333184" y="338423"/>
                </a:lnTo>
                <a:lnTo>
                  <a:pt x="381191" y="98393"/>
                </a:lnTo>
                <a:close/>
                <a:moveTo>
                  <a:pt x="215741" y="94583"/>
                </a:moveTo>
                <a:cubicBezTo>
                  <a:pt x="215741" y="120301"/>
                  <a:pt x="197167" y="151638"/>
                  <a:pt x="156305" y="151638"/>
                </a:cubicBezTo>
                <a:lnTo>
                  <a:pt x="100203" y="151638"/>
                </a:lnTo>
                <a:lnTo>
                  <a:pt x="119729" y="55531"/>
                </a:lnTo>
                <a:lnTo>
                  <a:pt x="177737" y="55531"/>
                </a:lnTo>
                <a:cubicBezTo>
                  <a:pt x="205835" y="55531"/>
                  <a:pt x="215741" y="73152"/>
                  <a:pt x="215741" y="94583"/>
                </a:cubicBezTo>
                <a:moveTo>
                  <a:pt x="278987" y="89345"/>
                </a:moveTo>
                <a:cubicBezTo>
                  <a:pt x="278987" y="36576"/>
                  <a:pt x="245745" y="0"/>
                  <a:pt x="188214" y="0"/>
                </a:cubicBezTo>
                <a:lnTo>
                  <a:pt x="68008" y="0"/>
                </a:lnTo>
                <a:lnTo>
                  <a:pt x="0" y="338328"/>
                </a:lnTo>
                <a:lnTo>
                  <a:pt x="62770" y="338328"/>
                </a:lnTo>
                <a:lnTo>
                  <a:pt x="88868" y="207169"/>
                </a:lnTo>
                <a:lnTo>
                  <a:pt x="154019" y="207169"/>
                </a:lnTo>
                <a:cubicBezTo>
                  <a:pt x="235267" y="207169"/>
                  <a:pt x="278987" y="149733"/>
                  <a:pt x="278987" y="89345"/>
                </a:cubicBezTo>
              </a:path>
            </a:pathLst>
          </a:custGeom>
          <a:solidFill>
            <a:srgbClr val="FF83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7" name="Foliennummernplatzhalter 3">
            <a:extLst>
              <a:ext uri="{FF2B5EF4-FFF2-40B4-BE49-F238E27FC236}">
                <a16:creationId xmlns:a16="http://schemas.microsoft.com/office/drawing/2014/main" id="{AD4D4CC6-92AF-4A6A-821E-2A134AEDE9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Inhaltsplatzhalter 14">
            <a:extLst>
              <a:ext uri="{FF2B5EF4-FFF2-40B4-BE49-F238E27FC236}">
                <a16:creationId xmlns:a16="http://schemas.microsoft.com/office/drawing/2014/main" id="{393F392F-F549-4B5F-9E06-BCEAD154CF1C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3888" y="3608388"/>
            <a:ext cx="5364162" cy="2268537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B451D2DC-B6E3-4997-B607-7FC76DC88D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888" y="6076236"/>
            <a:ext cx="536416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2" name="Regieanweisung // Allgemein">
            <a:extLst>
              <a:ext uri="{FF2B5EF4-FFF2-40B4-BE49-F238E27FC236}">
                <a16:creationId xmlns:a16="http://schemas.microsoft.com/office/drawing/2014/main" id="{34EBBBC6-50A6-4FC8-9F9E-E5527D750141}"/>
              </a:ext>
            </a:extLst>
          </p:cNvPr>
          <p:cNvSpPr txBox="1"/>
          <p:nvPr userDrawn="1"/>
        </p:nvSpPr>
        <p:spPr>
          <a:xfrm rot="10800000" flipH="1" flipV="1">
            <a:off x="12345888" y="6097041"/>
            <a:ext cx="1570138" cy="760959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 vert="horz" wrap="square" lIns="72000" tIns="72000" rIns="72000" bIns="72000" rtlCol="0" anchor="b" anchorCtr="0">
            <a:sp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Please change color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of page number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White for darker pictures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Grey for lighter pictures</a:t>
            </a:r>
            <a:endParaRPr lang="en-US" sz="1000" b="1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020209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Blue 2, Picture lef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3516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8049F64-B2FE-408A-A7CF-A7B6E66DB8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3951" y="2537279"/>
            <a:ext cx="5364165" cy="304699"/>
          </a:xfrm>
        </p:spPr>
        <p:txBody>
          <a:bodyPr anchor="b"/>
          <a:lstStyle>
            <a:lvl1pPr>
              <a:defRPr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multi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3" y="2881894"/>
            <a:ext cx="5364165" cy="2616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sz="1700">
                <a:solidFill>
                  <a:schemeClr val="bg1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27" name="Foliennummernplatzhalter 3">
            <a:extLst>
              <a:ext uri="{FF2B5EF4-FFF2-40B4-BE49-F238E27FC236}">
                <a16:creationId xmlns:a16="http://schemas.microsoft.com/office/drawing/2014/main" id="{AD4D4CC6-92AF-4A6A-821E-2A134AEDE9B3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Inhaltsplatzhalter 14">
            <a:extLst>
              <a:ext uri="{FF2B5EF4-FFF2-40B4-BE49-F238E27FC236}">
                <a16:creationId xmlns:a16="http://schemas.microsoft.com/office/drawing/2014/main" id="{D75CBEEA-5470-4798-AF17-C513F2C2641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3953" y="3608388"/>
            <a:ext cx="5364165" cy="2268537"/>
          </a:xfrm>
        </p:spPr>
        <p:txBody>
          <a:bodyPr>
            <a:noAutofit/>
          </a:bodyPr>
          <a:lstStyle>
            <a:lvl1pPr>
              <a:defRPr sz="1600">
                <a:solidFill>
                  <a:schemeClr val="bg1"/>
                </a:solidFill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4"/>
            <a:endParaRPr lang="en-US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266F5EC9-6D22-4BE0-8096-F491472EBB2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03953" y="6076236"/>
            <a:ext cx="5364165" cy="123111"/>
          </a:xfrm>
        </p:spPr>
        <p:txBody>
          <a:bodyPr anchor="b">
            <a:spAutoFit/>
          </a:bodyPr>
          <a:lstStyle>
            <a:lvl1pPr>
              <a:spcBef>
                <a:spcPts val="0"/>
              </a:spcBef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0C0DDE0-C675-4062-B522-740B5E5CDF5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676900" cy="6858000"/>
          </a:xfrm>
          <a:custGeom>
            <a:avLst/>
            <a:gdLst>
              <a:gd name="connsiteX0" fmla="*/ 0 w 5676900"/>
              <a:gd name="connsiteY0" fmla="*/ 0 h 6858000"/>
              <a:gd name="connsiteX1" fmla="*/ 5676900 w 5676900"/>
              <a:gd name="connsiteY1" fmla="*/ 0 h 6858000"/>
              <a:gd name="connsiteX2" fmla="*/ 4064000 w 5676900"/>
              <a:gd name="connsiteY2" fmla="*/ 5867400 h 6858000"/>
              <a:gd name="connsiteX3" fmla="*/ 5029200 w 5676900"/>
              <a:gd name="connsiteY3" fmla="*/ 6858000 h 6858000"/>
              <a:gd name="connsiteX4" fmla="*/ 0 w 567690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76900" h="6858000">
                <a:moveTo>
                  <a:pt x="0" y="0"/>
                </a:moveTo>
                <a:lnTo>
                  <a:pt x="5676900" y="0"/>
                </a:lnTo>
                <a:lnTo>
                  <a:pt x="4064000" y="5867400"/>
                </a:lnTo>
                <a:lnTo>
                  <a:pt x="5029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1"/>
          </a:solidFill>
        </p:spPr>
        <p:txBody>
          <a:bodyPr vert="horz" wrap="square" lIns="108000" tIns="108000" rIns="108000" bIns="108000" rtlCol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marR="0" lvl="0" fontAlgn="auto">
              <a:spcAft>
                <a:spcPts val="0"/>
              </a:spcAft>
              <a:buClrTx/>
              <a:buSzTx/>
              <a:tabLst/>
            </a:pPr>
            <a:r>
              <a:rPr lang="en-US" dirty="0"/>
              <a:t>Click on the icon to insert an image</a:t>
            </a:r>
          </a:p>
          <a:p>
            <a:pPr marR="0" lvl="0" fontAlgn="auto">
              <a:spcAft>
                <a:spcPts val="0"/>
              </a:spcAft>
              <a:buClrTx/>
              <a:buSzTx/>
              <a:tabLst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9979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726360D-4C2F-4CA0-918F-6A8E857B1C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0597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5" progId="TCLayout.ActiveDocument.1">
                  <p:embed/>
                </p:oleObj>
              </mc:Choice>
              <mc:Fallback>
                <p:oleObj name="think-cell Slide" r:id="rId3" imgW="344" imgH="34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726360D-4C2F-4CA0-918F-6A8E857B1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Grafik 62">
            <a:extLst>
              <a:ext uri="{FF2B5EF4-FFF2-40B4-BE49-F238E27FC236}">
                <a16:creationId xmlns:a16="http://schemas.microsoft.com/office/drawing/2014/main" id="{DF3705B0-782D-4172-BE30-29FE6B10CC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20000" t="25129" r="7606" b="21481"/>
          <a:stretch/>
        </p:blipFill>
        <p:spPr>
          <a:xfrm>
            <a:off x="-1" y="1"/>
            <a:ext cx="12197273" cy="6857998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029AA3B8-16E2-438D-9A34-FF978DEDCAAE}"/>
              </a:ext>
            </a:extLst>
          </p:cNvPr>
          <p:cNvGrpSpPr/>
          <p:nvPr userDrawn="1"/>
        </p:nvGrpSpPr>
        <p:grpSpPr>
          <a:xfrm>
            <a:off x="9531700" y="1511612"/>
            <a:ext cx="2326900" cy="611726"/>
            <a:chOff x="9237264" y="1690722"/>
            <a:chExt cx="2576929" cy="677457"/>
          </a:xfrm>
        </p:grpSpPr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417E1E7F-7D9B-41CF-BE57-17B4195603A4}"/>
                </a:ext>
              </a:extLst>
            </p:cNvPr>
            <p:cNvSpPr/>
            <p:nvPr/>
          </p:nvSpPr>
          <p:spPr>
            <a:xfrm>
              <a:off x="10167480" y="2197076"/>
              <a:ext cx="1543732" cy="171103"/>
            </a:xfrm>
            <a:custGeom>
              <a:avLst/>
              <a:gdLst>
                <a:gd name="connsiteX0" fmla="*/ 3869817 w 3867150"/>
                <a:gd name="connsiteY0" fmla="*/ 118300 h 428625"/>
                <a:gd name="connsiteX1" fmla="*/ 3787617 w 3867150"/>
                <a:gd name="connsiteY1" fmla="*/ 87916 h 428625"/>
                <a:gd name="connsiteX2" fmla="*/ 3705416 w 3867150"/>
                <a:gd name="connsiteY2" fmla="*/ 116396 h 428625"/>
                <a:gd name="connsiteX3" fmla="*/ 3680270 w 3867150"/>
                <a:gd name="connsiteY3" fmla="*/ 178213 h 428625"/>
                <a:gd name="connsiteX4" fmla="*/ 3739610 w 3867150"/>
                <a:gd name="connsiteY4" fmla="*/ 234315 h 428625"/>
                <a:gd name="connsiteX5" fmla="*/ 3771995 w 3867150"/>
                <a:gd name="connsiteY5" fmla="*/ 239554 h 428625"/>
                <a:gd name="connsiteX6" fmla="*/ 3795332 w 3867150"/>
                <a:gd name="connsiteY6" fmla="*/ 260032 h 428625"/>
                <a:gd name="connsiteX7" fmla="*/ 3744944 w 3867150"/>
                <a:gd name="connsiteY7" fmla="*/ 290894 h 428625"/>
                <a:gd name="connsiteX8" fmla="*/ 3687985 w 3867150"/>
                <a:gd name="connsiteY8" fmla="*/ 267081 h 428625"/>
                <a:gd name="connsiteX9" fmla="*/ 3645694 w 3867150"/>
                <a:gd name="connsiteY9" fmla="*/ 304133 h 428625"/>
                <a:gd name="connsiteX10" fmla="*/ 3741135 w 3867150"/>
                <a:gd name="connsiteY10" fmla="*/ 341186 h 428625"/>
                <a:gd name="connsiteX11" fmla="*/ 3827145 w 3867150"/>
                <a:gd name="connsiteY11" fmla="*/ 314134 h 428625"/>
                <a:gd name="connsiteX12" fmla="*/ 3853720 w 3867150"/>
                <a:gd name="connsiteY12" fmla="*/ 254222 h 428625"/>
                <a:gd name="connsiteX13" fmla="*/ 3793903 w 3867150"/>
                <a:gd name="connsiteY13" fmla="*/ 190024 h 428625"/>
                <a:gd name="connsiteX14" fmla="*/ 3761994 w 3867150"/>
                <a:gd name="connsiteY14" fmla="*/ 184785 h 428625"/>
                <a:gd name="connsiteX15" fmla="*/ 3739134 w 3867150"/>
                <a:gd name="connsiteY15" fmla="*/ 166211 h 428625"/>
                <a:gd name="connsiteX16" fmla="*/ 3782377 w 3867150"/>
                <a:gd name="connsiteY16" fmla="*/ 136303 h 428625"/>
                <a:gd name="connsiteX17" fmla="*/ 3829431 w 3867150"/>
                <a:gd name="connsiteY17" fmla="*/ 153924 h 428625"/>
                <a:gd name="connsiteX18" fmla="*/ 3869817 w 3867150"/>
                <a:gd name="connsiteY18" fmla="*/ 118300 h 428625"/>
                <a:gd name="connsiteX19" fmla="*/ 3661220 w 3867150"/>
                <a:gd name="connsiteY19" fmla="*/ 122111 h 428625"/>
                <a:gd name="connsiteX20" fmla="*/ 3588544 w 3867150"/>
                <a:gd name="connsiteY20" fmla="*/ 87916 h 428625"/>
                <a:gd name="connsiteX21" fmla="*/ 3462623 w 3867150"/>
                <a:gd name="connsiteY21" fmla="*/ 214313 h 428625"/>
                <a:gd name="connsiteX22" fmla="*/ 3458813 w 3867150"/>
                <a:gd name="connsiteY22" fmla="*/ 252794 h 428625"/>
                <a:gd name="connsiteX23" fmla="*/ 3547586 w 3867150"/>
                <a:gd name="connsiteY23" fmla="*/ 341186 h 428625"/>
                <a:gd name="connsiteX24" fmla="*/ 3629311 w 3867150"/>
                <a:gd name="connsiteY24" fmla="*/ 309848 h 428625"/>
                <a:gd name="connsiteX25" fmla="*/ 3596545 w 3867150"/>
                <a:gd name="connsiteY25" fmla="*/ 267557 h 428625"/>
                <a:gd name="connsiteX26" fmla="*/ 3553301 w 3867150"/>
                <a:gd name="connsiteY26" fmla="*/ 288512 h 428625"/>
                <a:gd name="connsiteX27" fmla="*/ 3518154 w 3867150"/>
                <a:gd name="connsiteY27" fmla="*/ 246221 h 428625"/>
                <a:gd name="connsiteX28" fmla="*/ 3521488 w 3867150"/>
                <a:gd name="connsiteY28" fmla="*/ 214313 h 428625"/>
                <a:gd name="connsiteX29" fmla="*/ 3547586 w 3867150"/>
                <a:gd name="connsiteY29" fmla="*/ 156305 h 428625"/>
                <a:gd name="connsiteX30" fmla="*/ 3582734 w 3867150"/>
                <a:gd name="connsiteY30" fmla="*/ 140589 h 428625"/>
                <a:gd name="connsiteX31" fmla="*/ 3616928 w 3867150"/>
                <a:gd name="connsiteY31" fmla="*/ 161068 h 428625"/>
                <a:gd name="connsiteX32" fmla="*/ 3661220 w 3867150"/>
                <a:gd name="connsiteY32" fmla="*/ 122111 h 428625"/>
                <a:gd name="connsiteX33" fmla="*/ 3456813 w 3867150"/>
                <a:gd name="connsiteY33" fmla="*/ 953 h 428625"/>
                <a:gd name="connsiteX34" fmla="*/ 3395948 w 3867150"/>
                <a:gd name="connsiteY34" fmla="*/ 953 h 428625"/>
                <a:gd name="connsiteX35" fmla="*/ 3386423 w 3867150"/>
                <a:gd name="connsiteY35" fmla="*/ 49816 h 428625"/>
                <a:gd name="connsiteX36" fmla="*/ 3446812 w 3867150"/>
                <a:gd name="connsiteY36" fmla="*/ 49816 h 428625"/>
                <a:gd name="connsiteX37" fmla="*/ 3456813 w 3867150"/>
                <a:gd name="connsiteY37" fmla="*/ 953 h 428625"/>
                <a:gd name="connsiteX38" fmla="*/ 3436906 w 3867150"/>
                <a:gd name="connsiteY38" fmla="*/ 98393 h 428625"/>
                <a:gd name="connsiteX39" fmla="*/ 3377946 w 3867150"/>
                <a:gd name="connsiteY39" fmla="*/ 98393 h 428625"/>
                <a:gd name="connsiteX40" fmla="*/ 3329940 w 3867150"/>
                <a:gd name="connsiteY40" fmla="*/ 338423 h 428625"/>
                <a:gd name="connsiteX41" fmla="*/ 3388900 w 3867150"/>
                <a:gd name="connsiteY41" fmla="*/ 338423 h 428625"/>
                <a:gd name="connsiteX42" fmla="*/ 3436906 w 3867150"/>
                <a:gd name="connsiteY42" fmla="*/ 98393 h 428625"/>
                <a:gd name="connsiteX43" fmla="*/ 3328035 w 3867150"/>
                <a:gd name="connsiteY43" fmla="*/ 98393 h 428625"/>
                <a:gd name="connsiteX44" fmla="*/ 3287173 w 3867150"/>
                <a:gd name="connsiteY44" fmla="*/ 98393 h 428625"/>
                <a:gd name="connsiteX45" fmla="*/ 3301937 w 3867150"/>
                <a:gd name="connsiteY45" fmla="*/ 24289 h 428625"/>
                <a:gd name="connsiteX46" fmla="*/ 3242977 w 3867150"/>
                <a:gd name="connsiteY46" fmla="*/ 24289 h 428625"/>
                <a:gd name="connsiteX47" fmla="*/ 3228213 w 3867150"/>
                <a:gd name="connsiteY47" fmla="*/ 98393 h 428625"/>
                <a:gd name="connsiteX48" fmla="*/ 3203067 w 3867150"/>
                <a:gd name="connsiteY48" fmla="*/ 98393 h 428625"/>
                <a:gd name="connsiteX49" fmla="*/ 3194019 w 3867150"/>
                <a:gd name="connsiteY49" fmla="*/ 142970 h 428625"/>
                <a:gd name="connsiteX50" fmla="*/ 3219164 w 3867150"/>
                <a:gd name="connsiteY50" fmla="*/ 142970 h 428625"/>
                <a:gd name="connsiteX51" fmla="*/ 3194971 w 3867150"/>
                <a:gd name="connsiteY51" fmla="*/ 264223 h 428625"/>
                <a:gd name="connsiteX52" fmla="*/ 3193066 w 3867150"/>
                <a:gd name="connsiteY52" fmla="*/ 284702 h 428625"/>
                <a:gd name="connsiteX53" fmla="*/ 3252883 w 3867150"/>
                <a:gd name="connsiteY53" fmla="*/ 338328 h 428625"/>
                <a:gd name="connsiteX54" fmla="*/ 3283268 w 3867150"/>
                <a:gd name="connsiteY54" fmla="*/ 338328 h 428625"/>
                <a:gd name="connsiteX55" fmla="*/ 3293269 w 3867150"/>
                <a:gd name="connsiteY55" fmla="*/ 288988 h 428625"/>
                <a:gd name="connsiteX56" fmla="*/ 3271933 w 3867150"/>
                <a:gd name="connsiteY56" fmla="*/ 288988 h 428625"/>
                <a:gd name="connsiteX57" fmla="*/ 3252883 w 3867150"/>
                <a:gd name="connsiteY57" fmla="*/ 273748 h 428625"/>
                <a:gd name="connsiteX58" fmla="*/ 3253836 w 3867150"/>
                <a:gd name="connsiteY58" fmla="*/ 264700 h 428625"/>
                <a:gd name="connsiteX59" fmla="*/ 3278029 w 3867150"/>
                <a:gd name="connsiteY59" fmla="*/ 142970 h 428625"/>
                <a:gd name="connsiteX60" fmla="*/ 3318891 w 3867150"/>
                <a:gd name="connsiteY60" fmla="*/ 142970 h 428625"/>
                <a:gd name="connsiteX61" fmla="*/ 3328035 w 3867150"/>
                <a:gd name="connsiteY61" fmla="*/ 98393 h 428625"/>
                <a:gd name="connsiteX62" fmla="*/ 3163062 w 3867150"/>
                <a:gd name="connsiteY62" fmla="*/ 118300 h 428625"/>
                <a:gd name="connsiteX63" fmla="*/ 3080861 w 3867150"/>
                <a:gd name="connsiteY63" fmla="*/ 87916 h 428625"/>
                <a:gd name="connsiteX64" fmla="*/ 2998565 w 3867150"/>
                <a:gd name="connsiteY64" fmla="*/ 116396 h 428625"/>
                <a:gd name="connsiteX65" fmla="*/ 2973420 w 3867150"/>
                <a:gd name="connsiteY65" fmla="*/ 178213 h 428625"/>
                <a:gd name="connsiteX66" fmla="*/ 3032760 w 3867150"/>
                <a:gd name="connsiteY66" fmla="*/ 234315 h 428625"/>
                <a:gd name="connsiteX67" fmla="*/ 3065145 w 3867150"/>
                <a:gd name="connsiteY67" fmla="*/ 239554 h 428625"/>
                <a:gd name="connsiteX68" fmla="*/ 3088481 w 3867150"/>
                <a:gd name="connsiteY68" fmla="*/ 260032 h 428625"/>
                <a:gd name="connsiteX69" fmla="*/ 3037999 w 3867150"/>
                <a:gd name="connsiteY69" fmla="*/ 290894 h 428625"/>
                <a:gd name="connsiteX70" fmla="*/ 2981039 w 3867150"/>
                <a:gd name="connsiteY70" fmla="*/ 267081 h 428625"/>
                <a:gd name="connsiteX71" fmla="*/ 2938748 w 3867150"/>
                <a:gd name="connsiteY71" fmla="*/ 304133 h 428625"/>
                <a:gd name="connsiteX72" fmla="*/ 3034189 w 3867150"/>
                <a:gd name="connsiteY72" fmla="*/ 341186 h 428625"/>
                <a:gd name="connsiteX73" fmla="*/ 3120295 w 3867150"/>
                <a:gd name="connsiteY73" fmla="*/ 314134 h 428625"/>
                <a:gd name="connsiteX74" fmla="*/ 3146870 w 3867150"/>
                <a:gd name="connsiteY74" fmla="*/ 254222 h 428625"/>
                <a:gd name="connsiteX75" fmla="*/ 3087053 w 3867150"/>
                <a:gd name="connsiteY75" fmla="*/ 190024 h 428625"/>
                <a:gd name="connsiteX76" fmla="*/ 3055144 w 3867150"/>
                <a:gd name="connsiteY76" fmla="*/ 184785 h 428625"/>
                <a:gd name="connsiteX77" fmla="*/ 3032284 w 3867150"/>
                <a:gd name="connsiteY77" fmla="*/ 166211 h 428625"/>
                <a:gd name="connsiteX78" fmla="*/ 3075623 w 3867150"/>
                <a:gd name="connsiteY78" fmla="*/ 136303 h 428625"/>
                <a:gd name="connsiteX79" fmla="*/ 3122676 w 3867150"/>
                <a:gd name="connsiteY79" fmla="*/ 153924 h 428625"/>
                <a:gd name="connsiteX80" fmla="*/ 3163062 w 3867150"/>
                <a:gd name="connsiteY80" fmla="*/ 118300 h 428625"/>
                <a:gd name="connsiteX81" fmla="*/ 2858453 w 3867150"/>
                <a:gd name="connsiteY81" fmla="*/ 231934 h 428625"/>
                <a:gd name="connsiteX82" fmla="*/ 2855595 w 3867150"/>
                <a:gd name="connsiteY82" fmla="*/ 246697 h 428625"/>
                <a:gd name="connsiteX83" fmla="*/ 2840831 w 3867150"/>
                <a:gd name="connsiteY83" fmla="*/ 278035 h 428625"/>
                <a:gd name="connsiteX84" fmla="*/ 2802350 w 3867150"/>
                <a:gd name="connsiteY84" fmla="*/ 293275 h 428625"/>
                <a:gd name="connsiteX85" fmla="*/ 2770918 w 3867150"/>
                <a:gd name="connsiteY85" fmla="*/ 269938 h 428625"/>
                <a:gd name="connsiteX86" fmla="*/ 2813209 w 3867150"/>
                <a:gd name="connsiteY86" fmla="*/ 231838 h 428625"/>
                <a:gd name="connsiteX87" fmla="*/ 2858453 w 3867150"/>
                <a:gd name="connsiteY87" fmla="*/ 231838 h 428625"/>
                <a:gd name="connsiteX88" fmla="*/ 2930652 w 3867150"/>
                <a:gd name="connsiteY88" fmla="*/ 156877 h 428625"/>
                <a:gd name="connsiteX89" fmla="*/ 2842736 w 3867150"/>
                <a:gd name="connsiteY89" fmla="*/ 88011 h 428625"/>
                <a:gd name="connsiteX90" fmla="*/ 2751011 w 3867150"/>
                <a:gd name="connsiteY90" fmla="*/ 121253 h 428625"/>
                <a:gd name="connsiteX91" fmla="*/ 2781395 w 3867150"/>
                <a:gd name="connsiteY91" fmla="*/ 160687 h 428625"/>
                <a:gd name="connsiteX92" fmla="*/ 2834640 w 3867150"/>
                <a:gd name="connsiteY92" fmla="*/ 137350 h 428625"/>
                <a:gd name="connsiteX93" fmla="*/ 2871311 w 3867150"/>
                <a:gd name="connsiteY93" fmla="*/ 164021 h 428625"/>
                <a:gd name="connsiteX94" fmla="*/ 2869883 w 3867150"/>
                <a:gd name="connsiteY94" fmla="*/ 176879 h 428625"/>
                <a:gd name="connsiteX95" fmla="*/ 2866549 w 3867150"/>
                <a:gd name="connsiteY95" fmla="*/ 191643 h 428625"/>
                <a:gd name="connsiteX96" fmla="*/ 2807589 w 3867150"/>
                <a:gd name="connsiteY96" fmla="*/ 191643 h 428625"/>
                <a:gd name="connsiteX97" fmla="*/ 2735390 w 3867150"/>
                <a:gd name="connsiteY97" fmla="*/ 217265 h 428625"/>
                <a:gd name="connsiteX98" fmla="*/ 2713101 w 3867150"/>
                <a:gd name="connsiteY98" fmla="*/ 275749 h 428625"/>
                <a:gd name="connsiteX99" fmla="*/ 2783872 w 3867150"/>
                <a:gd name="connsiteY99" fmla="*/ 340805 h 428625"/>
                <a:gd name="connsiteX100" fmla="*/ 2843784 w 3867150"/>
                <a:gd name="connsiteY100" fmla="*/ 316611 h 428625"/>
                <a:gd name="connsiteX101" fmla="*/ 2839498 w 3867150"/>
                <a:gd name="connsiteY101" fmla="*/ 338423 h 428625"/>
                <a:gd name="connsiteX102" fmla="*/ 2896076 w 3867150"/>
                <a:gd name="connsiteY102" fmla="*/ 338423 h 428625"/>
                <a:gd name="connsiteX103" fmla="*/ 2928366 w 3867150"/>
                <a:gd name="connsiteY103" fmla="*/ 178784 h 428625"/>
                <a:gd name="connsiteX104" fmla="*/ 2930652 w 3867150"/>
                <a:gd name="connsiteY104" fmla="*/ 156877 h 428625"/>
                <a:gd name="connsiteX105" fmla="*/ 2697766 w 3867150"/>
                <a:gd name="connsiteY105" fmla="*/ 0 h 428625"/>
                <a:gd name="connsiteX106" fmla="*/ 2638806 w 3867150"/>
                <a:gd name="connsiteY106" fmla="*/ 0 h 428625"/>
                <a:gd name="connsiteX107" fmla="*/ 2586133 w 3867150"/>
                <a:gd name="connsiteY107" fmla="*/ 264223 h 428625"/>
                <a:gd name="connsiteX108" fmla="*/ 2584228 w 3867150"/>
                <a:gd name="connsiteY108" fmla="*/ 284702 h 428625"/>
                <a:gd name="connsiteX109" fmla="*/ 2643569 w 3867150"/>
                <a:gd name="connsiteY109" fmla="*/ 338328 h 428625"/>
                <a:gd name="connsiteX110" fmla="*/ 2675858 w 3867150"/>
                <a:gd name="connsiteY110" fmla="*/ 338328 h 428625"/>
                <a:gd name="connsiteX111" fmla="*/ 2685860 w 3867150"/>
                <a:gd name="connsiteY111" fmla="*/ 288512 h 428625"/>
                <a:gd name="connsiteX112" fmla="*/ 2661666 w 3867150"/>
                <a:gd name="connsiteY112" fmla="*/ 288512 h 428625"/>
                <a:gd name="connsiteX113" fmla="*/ 2643569 w 3867150"/>
                <a:gd name="connsiteY113" fmla="*/ 274225 h 428625"/>
                <a:gd name="connsiteX114" fmla="*/ 2644997 w 3867150"/>
                <a:gd name="connsiteY114" fmla="*/ 263747 h 428625"/>
                <a:gd name="connsiteX115" fmla="*/ 2697766 w 3867150"/>
                <a:gd name="connsiteY115" fmla="*/ 0 h 428625"/>
                <a:gd name="connsiteX116" fmla="*/ 2514791 w 3867150"/>
                <a:gd name="connsiteY116" fmla="*/ 94583 h 428625"/>
                <a:gd name="connsiteX117" fmla="*/ 2455355 w 3867150"/>
                <a:gd name="connsiteY117" fmla="*/ 151638 h 428625"/>
                <a:gd name="connsiteX118" fmla="*/ 2399253 w 3867150"/>
                <a:gd name="connsiteY118" fmla="*/ 151638 h 428625"/>
                <a:gd name="connsiteX119" fmla="*/ 2418779 w 3867150"/>
                <a:gd name="connsiteY119" fmla="*/ 55531 h 428625"/>
                <a:gd name="connsiteX120" fmla="*/ 2476786 w 3867150"/>
                <a:gd name="connsiteY120" fmla="*/ 55531 h 428625"/>
                <a:gd name="connsiteX121" fmla="*/ 2514791 w 3867150"/>
                <a:gd name="connsiteY121" fmla="*/ 94583 h 428625"/>
                <a:gd name="connsiteX122" fmla="*/ 2578037 w 3867150"/>
                <a:gd name="connsiteY122" fmla="*/ 89345 h 428625"/>
                <a:gd name="connsiteX123" fmla="*/ 2487359 w 3867150"/>
                <a:gd name="connsiteY123" fmla="*/ 0 h 428625"/>
                <a:gd name="connsiteX124" fmla="*/ 2367058 w 3867150"/>
                <a:gd name="connsiteY124" fmla="*/ 0 h 428625"/>
                <a:gd name="connsiteX125" fmla="*/ 2299049 w 3867150"/>
                <a:gd name="connsiteY125" fmla="*/ 338328 h 428625"/>
                <a:gd name="connsiteX126" fmla="*/ 2361819 w 3867150"/>
                <a:gd name="connsiteY126" fmla="*/ 338328 h 428625"/>
                <a:gd name="connsiteX127" fmla="*/ 2387918 w 3867150"/>
                <a:gd name="connsiteY127" fmla="*/ 207169 h 428625"/>
                <a:gd name="connsiteX128" fmla="*/ 2453069 w 3867150"/>
                <a:gd name="connsiteY128" fmla="*/ 207169 h 428625"/>
                <a:gd name="connsiteX129" fmla="*/ 2578037 w 3867150"/>
                <a:gd name="connsiteY129" fmla="*/ 89345 h 428625"/>
                <a:gd name="connsiteX130" fmla="*/ 2105501 w 3867150"/>
                <a:gd name="connsiteY130" fmla="*/ 173546 h 428625"/>
                <a:gd name="connsiteX131" fmla="*/ 2101215 w 3867150"/>
                <a:gd name="connsiteY131" fmla="*/ 207740 h 428625"/>
                <a:gd name="connsiteX132" fmla="*/ 2048923 w 3867150"/>
                <a:gd name="connsiteY132" fmla="*/ 275272 h 428625"/>
                <a:gd name="connsiteX133" fmla="*/ 2019490 w 3867150"/>
                <a:gd name="connsiteY133" fmla="*/ 242506 h 428625"/>
                <a:gd name="connsiteX134" fmla="*/ 2023777 w 3867150"/>
                <a:gd name="connsiteY134" fmla="*/ 208312 h 428625"/>
                <a:gd name="connsiteX135" fmla="*/ 2076069 w 3867150"/>
                <a:gd name="connsiteY135" fmla="*/ 140779 h 428625"/>
                <a:gd name="connsiteX136" fmla="*/ 2105501 w 3867150"/>
                <a:gd name="connsiteY136" fmla="*/ 173546 h 428625"/>
                <a:gd name="connsiteX137" fmla="*/ 2105501 w 3867150"/>
                <a:gd name="connsiteY137" fmla="*/ 173546 h 428625"/>
                <a:gd name="connsiteX138" fmla="*/ 2183035 w 3867150"/>
                <a:gd name="connsiteY138" fmla="*/ 90773 h 428625"/>
                <a:gd name="connsiteX139" fmla="*/ 2125980 w 3867150"/>
                <a:gd name="connsiteY139" fmla="*/ 90773 h 428625"/>
                <a:gd name="connsiteX140" fmla="*/ 2121218 w 3867150"/>
                <a:gd name="connsiteY140" fmla="*/ 115919 h 428625"/>
                <a:gd name="connsiteX141" fmla="*/ 2065115 w 3867150"/>
                <a:gd name="connsiteY141" fmla="*/ 87821 h 428625"/>
                <a:gd name="connsiteX142" fmla="*/ 2001964 w 3867150"/>
                <a:gd name="connsiteY142" fmla="*/ 112490 h 428625"/>
                <a:gd name="connsiteX143" fmla="*/ 1964912 w 3867150"/>
                <a:gd name="connsiteY143" fmla="*/ 207550 h 428625"/>
                <a:gd name="connsiteX144" fmla="*/ 1958721 w 3867150"/>
                <a:gd name="connsiteY144" fmla="*/ 257937 h 428625"/>
                <a:gd name="connsiteX145" fmla="*/ 2027111 w 3867150"/>
                <a:gd name="connsiteY145" fmla="*/ 327755 h 428625"/>
                <a:gd name="connsiteX146" fmla="*/ 2082260 w 3867150"/>
                <a:gd name="connsiteY146" fmla="*/ 303086 h 428625"/>
                <a:gd name="connsiteX147" fmla="*/ 2077022 w 3867150"/>
                <a:gd name="connsiteY147" fmla="*/ 328231 h 428625"/>
                <a:gd name="connsiteX148" fmla="*/ 2016633 w 3867150"/>
                <a:gd name="connsiteY148" fmla="*/ 381953 h 428625"/>
                <a:gd name="connsiteX149" fmla="*/ 1975295 w 3867150"/>
                <a:gd name="connsiteY149" fmla="*/ 362426 h 428625"/>
                <a:gd name="connsiteX150" fmla="*/ 1934432 w 3867150"/>
                <a:gd name="connsiteY150" fmla="*/ 398050 h 428625"/>
                <a:gd name="connsiteX151" fmla="*/ 2016633 w 3867150"/>
                <a:gd name="connsiteY151" fmla="*/ 431768 h 428625"/>
                <a:gd name="connsiteX152" fmla="*/ 2135505 w 3867150"/>
                <a:gd name="connsiteY152" fmla="*/ 328613 h 428625"/>
                <a:gd name="connsiteX153" fmla="*/ 2183035 w 3867150"/>
                <a:gd name="connsiteY153" fmla="*/ 90773 h 428625"/>
                <a:gd name="connsiteX154" fmla="*/ 1924431 w 3867150"/>
                <a:gd name="connsiteY154" fmla="*/ 156305 h 428625"/>
                <a:gd name="connsiteX155" fmla="*/ 1861280 w 3867150"/>
                <a:gd name="connsiteY155" fmla="*/ 87916 h 428625"/>
                <a:gd name="connsiteX156" fmla="*/ 1796129 w 3867150"/>
                <a:gd name="connsiteY156" fmla="*/ 114490 h 428625"/>
                <a:gd name="connsiteX157" fmla="*/ 1800415 w 3867150"/>
                <a:gd name="connsiteY157" fmla="*/ 90773 h 428625"/>
                <a:gd name="connsiteX158" fmla="*/ 1743837 w 3867150"/>
                <a:gd name="connsiteY158" fmla="*/ 90773 h 428625"/>
                <a:gd name="connsiteX159" fmla="*/ 1694402 w 3867150"/>
                <a:gd name="connsiteY159" fmla="*/ 338328 h 428625"/>
                <a:gd name="connsiteX160" fmla="*/ 1753362 w 3867150"/>
                <a:gd name="connsiteY160" fmla="*/ 338328 h 428625"/>
                <a:gd name="connsiteX161" fmla="*/ 1783747 w 3867150"/>
                <a:gd name="connsiteY161" fmla="*/ 188119 h 428625"/>
                <a:gd name="connsiteX162" fmla="*/ 1834134 w 3867150"/>
                <a:gd name="connsiteY162" fmla="*/ 140589 h 428625"/>
                <a:gd name="connsiteX163" fmla="*/ 1863566 w 3867150"/>
                <a:gd name="connsiteY163" fmla="*/ 171450 h 428625"/>
                <a:gd name="connsiteX164" fmla="*/ 1861661 w 3867150"/>
                <a:gd name="connsiteY164" fmla="*/ 187642 h 428625"/>
                <a:gd name="connsiteX165" fmla="*/ 1831277 w 3867150"/>
                <a:gd name="connsiteY165" fmla="*/ 338328 h 428625"/>
                <a:gd name="connsiteX166" fmla="*/ 1890141 w 3867150"/>
                <a:gd name="connsiteY166" fmla="*/ 338328 h 428625"/>
                <a:gd name="connsiteX167" fmla="*/ 1921002 w 3867150"/>
                <a:gd name="connsiteY167" fmla="*/ 183832 h 428625"/>
                <a:gd name="connsiteX168" fmla="*/ 1924431 w 3867150"/>
                <a:gd name="connsiteY168" fmla="*/ 156305 h 428625"/>
                <a:gd name="connsiteX169" fmla="*/ 1702022 w 3867150"/>
                <a:gd name="connsiteY169" fmla="*/ 953 h 428625"/>
                <a:gd name="connsiteX170" fmla="*/ 1641157 w 3867150"/>
                <a:gd name="connsiteY170" fmla="*/ 953 h 428625"/>
                <a:gd name="connsiteX171" fmla="*/ 1631632 w 3867150"/>
                <a:gd name="connsiteY171" fmla="*/ 49816 h 428625"/>
                <a:gd name="connsiteX172" fmla="*/ 1692021 w 3867150"/>
                <a:gd name="connsiteY172" fmla="*/ 49816 h 428625"/>
                <a:gd name="connsiteX173" fmla="*/ 1702022 w 3867150"/>
                <a:gd name="connsiteY173" fmla="*/ 953 h 428625"/>
                <a:gd name="connsiteX174" fmla="*/ 1682115 w 3867150"/>
                <a:gd name="connsiteY174" fmla="*/ 98393 h 428625"/>
                <a:gd name="connsiteX175" fmla="*/ 1623155 w 3867150"/>
                <a:gd name="connsiteY175" fmla="*/ 98393 h 428625"/>
                <a:gd name="connsiteX176" fmla="*/ 1575149 w 3867150"/>
                <a:gd name="connsiteY176" fmla="*/ 338423 h 428625"/>
                <a:gd name="connsiteX177" fmla="*/ 1634109 w 3867150"/>
                <a:gd name="connsiteY177" fmla="*/ 338423 h 428625"/>
                <a:gd name="connsiteX178" fmla="*/ 1682115 w 3867150"/>
                <a:gd name="connsiteY178" fmla="*/ 98393 h 428625"/>
                <a:gd name="connsiteX179" fmla="*/ 1592199 w 3867150"/>
                <a:gd name="connsiteY179" fmla="*/ 111252 h 428625"/>
                <a:gd name="connsiteX180" fmla="*/ 1539431 w 3867150"/>
                <a:gd name="connsiteY180" fmla="*/ 88011 h 428625"/>
                <a:gd name="connsiteX181" fmla="*/ 1476661 w 3867150"/>
                <a:gd name="connsiteY181" fmla="*/ 115062 h 428625"/>
                <a:gd name="connsiteX182" fmla="*/ 1481900 w 3867150"/>
                <a:gd name="connsiteY182" fmla="*/ 90869 h 428625"/>
                <a:gd name="connsiteX183" fmla="*/ 1424845 w 3867150"/>
                <a:gd name="connsiteY183" fmla="*/ 90869 h 428625"/>
                <a:gd name="connsiteX184" fmla="*/ 1375410 w 3867150"/>
                <a:gd name="connsiteY184" fmla="*/ 338423 h 428625"/>
                <a:gd name="connsiteX185" fmla="*/ 1434370 w 3867150"/>
                <a:gd name="connsiteY185" fmla="*/ 338423 h 428625"/>
                <a:gd name="connsiteX186" fmla="*/ 1464278 w 3867150"/>
                <a:gd name="connsiteY186" fmla="*/ 188690 h 428625"/>
                <a:gd name="connsiteX187" fmla="*/ 1514189 w 3867150"/>
                <a:gd name="connsiteY187" fmla="*/ 141161 h 428625"/>
                <a:gd name="connsiteX188" fmla="*/ 1541240 w 3867150"/>
                <a:gd name="connsiteY188" fmla="*/ 156400 h 428625"/>
                <a:gd name="connsiteX189" fmla="*/ 1592199 w 3867150"/>
                <a:gd name="connsiteY189" fmla="*/ 111252 h 428625"/>
                <a:gd name="connsiteX190" fmla="*/ 1298067 w 3867150"/>
                <a:gd name="connsiteY190" fmla="*/ 176308 h 428625"/>
                <a:gd name="connsiteX191" fmla="*/ 1296638 w 3867150"/>
                <a:gd name="connsiteY191" fmla="*/ 192977 h 428625"/>
                <a:gd name="connsiteX192" fmla="*/ 1205770 w 3867150"/>
                <a:gd name="connsiteY192" fmla="*/ 192977 h 428625"/>
                <a:gd name="connsiteX193" fmla="*/ 1262825 w 3867150"/>
                <a:gd name="connsiteY193" fmla="*/ 136303 h 428625"/>
                <a:gd name="connsiteX194" fmla="*/ 1298067 w 3867150"/>
                <a:gd name="connsiteY194" fmla="*/ 176308 h 428625"/>
                <a:gd name="connsiteX195" fmla="*/ 1354074 w 3867150"/>
                <a:gd name="connsiteY195" fmla="*/ 176308 h 428625"/>
                <a:gd name="connsiteX196" fmla="*/ 1266158 w 3867150"/>
                <a:gd name="connsiteY196" fmla="*/ 87916 h 428625"/>
                <a:gd name="connsiteX197" fmla="*/ 1140238 w 3867150"/>
                <a:gd name="connsiteY197" fmla="*/ 254222 h 428625"/>
                <a:gd name="connsiteX198" fmla="*/ 1231964 w 3867150"/>
                <a:gd name="connsiteY198" fmla="*/ 341186 h 428625"/>
                <a:gd name="connsiteX199" fmla="*/ 1328452 w 3867150"/>
                <a:gd name="connsiteY199" fmla="*/ 305086 h 428625"/>
                <a:gd name="connsiteX200" fmla="*/ 1297591 w 3867150"/>
                <a:gd name="connsiteY200" fmla="*/ 266129 h 428625"/>
                <a:gd name="connsiteX201" fmla="*/ 1238631 w 3867150"/>
                <a:gd name="connsiteY201" fmla="*/ 291370 h 428625"/>
                <a:gd name="connsiteX202" fmla="*/ 1196340 w 3867150"/>
                <a:gd name="connsiteY202" fmla="*/ 249936 h 428625"/>
                <a:gd name="connsiteX203" fmla="*/ 1198245 w 3867150"/>
                <a:gd name="connsiteY203" fmla="*/ 232315 h 428625"/>
                <a:gd name="connsiteX204" fmla="*/ 1346549 w 3867150"/>
                <a:gd name="connsiteY204" fmla="*/ 232315 h 428625"/>
                <a:gd name="connsiteX205" fmla="*/ 1354074 w 3867150"/>
                <a:gd name="connsiteY205" fmla="*/ 176308 h 428625"/>
                <a:gd name="connsiteX206" fmla="*/ 1054227 w 3867150"/>
                <a:gd name="connsiteY206" fmla="*/ 176308 h 428625"/>
                <a:gd name="connsiteX207" fmla="*/ 1052798 w 3867150"/>
                <a:gd name="connsiteY207" fmla="*/ 192977 h 428625"/>
                <a:gd name="connsiteX208" fmla="*/ 961930 w 3867150"/>
                <a:gd name="connsiteY208" fmla="*/ 192977 h 428625"/>
                <a:gd name="connsiteX209" fmla="*/ 1018984 w 3867150"/>
                <a:gd name="connsiteY209" fmla="*/ 136303 h 428625"/>
                <a:gd name="connsiteX210" fmla="*/ 1054227 w 3867150"/>
                <a:gd name="connsiteY210" fmla="*/ 176308 h 428625"/>
                <a:gd name="connsiteX211" fmla="*/ 1110234 w 3867150"/>
                <a:gd name="connsiteY211" fmla="*/ 176308 h 428625"/>
                <a:gd name="connsiteX212" fmla="*/ 1022318 w 3867150"/>
                <a:gd name="connsiteY212" fmla="*/ 87916 h 428625"/>
                <a:gd name="connsiteX213" fmla="*/ 896398 w 3867150"/>
                <a:gd name="connsiteY213" fmla="*/ 254222 h 428625"/>
                <a:gd name="connsiteX214" fmla="*/ 988124 w 3867150"/>
                <a:gd name="connsiteY214" fmla="*/ 341186 h 428625"/>
                <a:gd name="connsiteX215" fmla="*/ 1084612 w 3867150"/>
                <a:gd name="connsiteY215" fmla="*/ 305086 h 428625"/>
                <a:gd name="connsiteX216" fmla="*/ 1053751 w 3867150"/>
                <a:gd name="connsiteY216" fmla="*/ 266129 h 428625"/>
                <a:gd name="connsiteX217" fmla="*/ 994791 w 3867150"/>
                <a:gd name="connsiteY217" fmla="*/ 291370 h 428625"/>
                <a:gd name="connsiteX218" fmla="*/ 952500 w 3867150"/>
                <a:gd name="connsiteY218" fmla="*/ 249936 h 428625"/>
                <a:gd name="connsiteX219" fmla="*/ 954405 w 3867150"/>
                <a:gd name="connsiteY219" fmla="*/ 232315 h 428625"/>
                <a:gd name="connsiteX220" fmla="*/ 1102709 w 3867150"/>
                <a:gd name="connsiteY220" fmla="*/ 232315 h 428625"/>
                <a:gd name="connsiteX221" fmla="*/ 1110234 w 3867150"/>
                <a:gd name="connsiteY221" fmla="*/ 176308 h 428625"/>
                <a:gd name="connsiteX222" fmla="*/ 863537 w 3867150"/>
                <a:gd name="connsiteY222" fmla="*/ 156305 h 428625"/>
                <a:gd name="connsiteX223" fmla="*/ 800386 w 3867150"/>
                <a:gd name="connsiteY223" fmla="*/ 87916 h 428625"/>
                <a:gd name="connsiteX224" fmla="*/ 735235 w 3867150"/>
                <a:gd name="connsiteY224" fmla="*/ 114490 h 428625"/>
                <a:gd name="connsiteX225" fmla="*/ 739521 w 3867150"/>
                <a:gd name="connsiteY225" fmla="*/ 90773 h 428625"/>
                <a:gd name="connsiteX226" fmla="*/ 682943 w 3867150"/>
                <a:gd name="connsiteY226" fmla="*/ 90773 h 428625"/>
                <a:gd name="connsiteX227" fmla="*/ 633508 w 3867150"/>
                <a:gd name="connsiteY227" fmla="*/ 338328 h 428625"/>
                <a:gd name="connsiteX228" fmla="*/ 692468 w 3867150"/>
                <a:gd name="connsiteY228" fmla="*/ 338328 h 428625"/>
                <a:gd name="connsiteX229" fmla="*/ 722852 w 3867150"/>
                <a:gd name="connsiteY229" fmla="*/ 188119 h 428625"/>
                <a:gd name="connsiteX230" fmla="*/ 773240 w 3867150"/>
                <a:gd name="connsiteY230" fmla="*/ 140589 h 428625"/>
                <a:gd name="connsiteX231" fmla="*/ 802672 w 3867150"/>
                <a:gd name="connsiteY231" fmla="*/ 171450 h 428625"/>
                <a:gd name="connsiteX232" fmla="*/ 800767 w 3867150"/>
                <a:gd name="connsiteY232" fmla="*/ 187642 h 428625"/>
                <a:gd name="connsiteX233" fmla="*/ 770382 w 3867150"/>
                <a:gd name="connsiteY233" fmla="*/ 338328 h 428625"/>
                <a:gd name="connsiteX234" fmla="*/ 829247 w 3867150"/>
                <a:gd name="connsiteY234" fmla="*/ 338328 h 428625"/>
                <a:gd name="connsiteX235" fmla="*/ 860108 w 3867150"/>
                <a:gd name="connsiteY235" fmla="*/ 183832 h 428625"/>
                <a:gd name="connsiteX236" fmla="*/ 863537 w 3867150"/>
                <a:gd name="connsiteY236" fmla="*/ 156305 h 428625"/>
                <a:gd name="connsiteX237" fmla="*/ 553688 w 3867150"/>
                <a:gd name="connsiteY237" fmla="*/ 176308 h 428625"/>
                <a:gd name="connsiteX238" fmla="*/ 548450 w 3867150"/>
                <a:gd name="connsiteY238" fmla="*/ 214313 h 428625"/>
                <a:gd name="connsiteX239" fmla="*/ 523208 w 3867150"/>
                <a:gd name="connsiteY239" fmla="*/ 276130 h 428625"/>
                <a:gd name="connsiteX240" fmla="*/ 492824 w 3867150"/>
                <a:gd name="connsiteY240" fmla="*/ 288512 h 428625"/>
                <a:gd name="connsiteX241" fmla="*/ 461391 w 3867150"/>
                <a:gd name="connsiteY241" fmla="*/ 252889 h 428625"/>
                <a:gd name="connsiteX242" fmla="*/ 466630 w 3867150"/>
                <a:gd name="connsiteY242" fmla="*/ 214408 h 428625"/>
                <a:gd name="connsiteX243" fmla="*/ 491871 w 3867150"/>
                <a:gd name="connsiteY243" fmla="*/ 153067 h 428625"/>
                <a:gd name="connsiteX244" fmla="*/ 522351 w 3867150"/>
                <a:gd name="connsiteY244" fmla="*/ 140684 h 428625"/>
                <a:gd name="connsiteX245" fmla="*/ 553688 w 3867150"/>
                <a:gd name="connsiteY245" fmla="*/ 176308 h 428625"/>
                <a:gd name="connsiteX246" fmla="*/ 612172 w 3867150"/>
                <a:gd name="connsiteY246" fmla="*/ 169640 h 428625"/>
                <a:gd name="connsiteX247" fmla="*/ 528542 w 3867150"/>
                <a:gd name="connsiteY247" fmla="*/ 87916 h 428625"/>
                <a:gd name="connsiteX248" fmla="*/ 452438 w 3867150"/>
                <a:gd name="connsiteY248" fmla="*/ 116396 h 428625"/>
                <a:gd name="connsiteX249" fmla="*/ 408242 w 3867150"/>
                <a:gd name="connsiteY249" fmla="*/ 214313 h 428625"/>
                <a:gd name="connsiteX250" fmla="*/ 403003 w 3867150"/>
                <a:gd name="connsiteY250" fmla="*/ 259461 h 428625"/>
                <a:gd name="connsiteX251" fmla="*/ 487109 w 3867150"/>
                <a:gd name="connsiteY251" fmla="*/ 341186 h 428625"/>
                <a:gd name="connsiteX252" fmla="*/ 563213 w 3867150"/>
                <a:gd name="connsiteY252" fmla="*/ 312706 h 428625"/>
                <a:gd name="connsiteX253" fmla="*/ 607409 w 3867150"/>
                <a:gd name="connsiteY253" fmla="*/ 214313 h 428625"/>
                <a:gd name="connsiteX254" fmla="*/ 612172 w 3867150"/>
                <a:gd name="connsiteY254" fmla="*/ 169640 h 428625"/>
                <a:gd name="connsiteX255" fmla="*/ 401098 w 3867150"/>
                <a:gd name="connsiteY255" fmla="*/ 953 h 428625"/>
                <a:gd name="connsiteX256" fmla="*/ 340233 w 3867150"/>
                <a:gd name="connsiteY256" fmla="*/ 953 h 428625"/>
                <a:gd name="connsiteX257" fmla="*/ 330708 w 3867150"/>
                <a:gd name="connsiteY257" fmla="*/ 49816 h 428625"/>
                <a:gd name="connsiteX258" fmla="*/ 391096 w 3867150"/>
                <a:gd name="connsiteY258" fmla="*/ 49816 h 428625"/>
                <a:gd name="connsiteX259" fmla="*/ 401098 w 3867150"/>
                <a:gd name="connsiteY259" fmla="*/ 953 h 428625"/>
                <a:gd name="connsiteX260" fmla="*/ 381191 w 3867150"/>
                <a:gd name="connsiteY260" fmla="*/ 98393 h 428625"/>
                <a:gd name="connsiteX261" fmla="*/ 322231 w 3867150"/>
                <a:gd name="connsiteY261" fmla="*/ 98393 h 428625"/>
                <a:gd name="connsiteX262" fmla="*/ 274225 w 3867150"/>
                <a:gd name="connsiteY262" fmla="*/ 338423 h 428625"/>
                <a:gd name="connsiteX263" fmla="*/ 333184 w 3867150"/>
                <a:gd name="connsiteY263" fmla="*/ 338423 h 428625"/>
                <a:gd name="connsiteX264" fmla="*/ 381191 w 3867150"/>
                <a:gd name="connsiteY264" fmla="*/ 98393 h 428625"/>
                <a:gd name="connsiteX265" fmla="*/ 215741 w 3867150"/>
                <a:gd name="connsiteY265" fmla="*/ 94583 h 428625"/>
                <a:gd name="connsiteX266" fmla="*/ 156305 w 3867150"/>
                <a:gd name="connsiteY266" fmla="*/ 151638 h 428625"/>
                <a:gd name="connsiteX267" fmla="*/ 100203 w 3867150"/>
                <a:gd name="connsiteY267" fmla="*/ 151638 h 428625"/>
                <a:gd name="connsiteX268" fmla="*/ 119729 w 3867150"/>
                <a:gd name="connsiteY268" fmla="*/ 55531 h 428625"/>
                <a:gd name="connsiteX269" fmla="*/ 177737 w 3867150"/>
                <a:gd name="connsiteY269" fmla="*/ 55531 h 428625"/>
                <a:gd name="connsiteX270" fmla="*/ 215741 w 3867150"/>
                <a:gd name="connsiteY270" fmla="*/ 94583 h 428625"/>
                <a:gd name="connsiteX271" fmla="*/ 278987 w 3867150"/>
                <a:gd name="connsiteY271" fmla="*/ 89345 h 428625"/>
                <a:gd name="connsiteX272" fmla="*/ 188214 w 3867150"/>
                <a:gd name="connsiteY272" fmla="*/ 0 h 428625"/>
                <a:gd name="connsiteX273" fmla="*/ 68008 w 3867150"/>
                <a:gd name="connsiteY273" fmla="*/ 0 h 428625"/>
                <a:gd name="connsiteX274" fmla="*/ 0 w 3867150"/>
                <a:gd name="connsiteY274" fmla="*/ 338328 h 428625"/>
                <a:gd name="connsiteX275" fmla="*/ 62770 w 3867150"/>
                <a:gd name="connsiteY275" fmla="*/ 338328 h 428625"/>
                <a:gd name="connsiteX276" fmla="*/ 88868 w 3867150"/>
                <a:gd name="connsiteY276" fmla="*/ 207169 h 428625"/>
                <a:gd name="connsiteX277" fmla="*/ 154019 w 3867150"/>
                <a:gd name="connsiteY277" fmla="*/ 207169 h 428625"/>
                <a:gd name="connsiteX278" fmla="*/ 278987 w 3867150"/>
                <a:gd name="connsiteY278" fmla="*/ 89345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3867150" h="428625">
                  <a:moveTo>
                    <a:pt x="3869817" y="118300"/>
                  </a:moveTo>
                  <a:cubicBezTo>
                    <a:pt x="3848481" y="96488"/>
                    <a:pt x="3822764" y="87916"/>
                    <a:pt x="3787617" y="87916"/>
                  </a:cubicBezTo>
                  <a:cubicBezTo>
                    <a:pt x="3752374" y="87916"/>
                    <a:pt x="3723894" y="97917"/>
                    <a:pt x="3705416" y="116396"/>
                  </a:cubicBezTo>
                  <a:cubicBezTo>
                    <a:pt x="3688842" y="132969"/>
                    <a:pt x="3680270" y="155353"/>
                    <a:pt x="3680270" y="178213"/>
                  </a:cubicBezTo>
                  <a:cubicBezTo>
                    <a:pt x="3680270" y="201549"/>
                    <a:pt x="3694462" y="226695"/>
                    <a:pt x="3739610" y="234315"/>
                  </a:cubicBezTo>
                  <a:lnTo>
                    <a:pt x="3771995" y="239554"/>
                  </a:lnTo>
                  <a:cubicBezTo>
                    <a:pt x="3786283" y="241935"/>
                    <a:pt x="3795332" y="246697"/>
                    <a:pt x="3795332" y="260032"/>
                  </a:cubicBezTo>
                  <a:cubicBezTo>
                    <a:pt x="3795332" y="274796"/>
                    <a:pt x="3778663" y="290894"/>
                    <a:pt x="3744944" y="290894"/>
                  </a:cubicBezTo>
                  <a:cubicBezTo>
                    <a:pt x="3716941" y="290894"/>
                    <a:pt x="3700272" y="281369"/>
                    <a:pt x="3687985" y="267081"/>
                  </a:cubicBezTo>
                  <a:lnTo>
                    <a:pt x="3645694" y="304133"/>
                  </a:lnTo>
                  <a:cubicBezTo>
                    <a:pt x="3667601" y="327850"/>
                    <a:pt x="3697034" y="341186"/>
                    <a:pt x="3741135" y="341186"/>
                  </a:cubicBezTo>
                  <a:cubicBezTo>
                    <a:pt x="3773043" y="341186"/>
                    <a:pt x="3807238" y="333565"/>
                    <a:pt x="3827145" y="314134"/>
                  </a:cubicBezTo>
                  <a:cubicBezTo>
                    <a:pt x="3843338" y="298513"/>
                    <a:pt x="3853720" y="278987"/>
                    <a:pt x="3853720" y="254222"/>
                  </a:cubicBezTo>
                  <a:cubicBezTo>
                    <a:pt x="3853720" y="220028"/>
                    <a:pt x="3838004" y="197167"/>
                    <a:pt x="3793903" y="190024"/>
                  </a:cubicBezTo>
                  <a:lnTo>
                    <a:pt x="3761994" y="184785"/>
                  </a:lnTo>
                  <a:cubicBezTo>
                    <a:pt x="3746754" y="182404"/>
                    <a:pt x="3739134" y="176689"/>
                    <a:pt x="3739134" y="166211"/>
                  </a:cubicBezTo>
                  <a:cubicBezTo>
                    <a:pt x="3739134" y="150971"/>
                    <a:pt x="3752469" y="136303"/>
                    <a:pt x="3782377" y="136303"/>
                  </a:cubicBezTo>
                  <a:cubicBezTo>
                    <a:pt x="3799999" y="136303"/>
                    <a:pt x="3818001" y="142018"/>
                    <a:pt x="3829431" y="153924"/>
                  </a:cubicBezTo>
                  <a:lnTo>
                    <a:pt x="3869817" y="118300"/>
                  </a:lnTo>
                  <a:close/>
                  <a:moveTo>
                    <a:pt x="3661220" y="122111"/>
                  </a:moveTo>
                  <a:cubicBezTo>
                    <a:pt x="3646456" y="103156"/>
                    <a:pt x="3624644" y="87916"/>
                    <a:pt x="3588544" y="87916"/>
                  </a:cubicBezTo>
                  <a:cubicBezTo>
                    <a:pt x="3538157" y="87916"/>
                    <a:pt x="3481197" y="113538"/>
                    <a:pt x="3462623" y="214313"/>
                  </a:cubicBezTo>
                  <a:cubicBezTo>
                    <a:pt x="3460242" y="227171"/>
                    <a:pt x="3458813" y="240982"/>
                    <a:pt x="3458813" y="252794"/>
                  </a:cubicBezTo>
                  <a:cubicBezTo>
                    <a:pt x="3458813" y="311277"/>
                    <a:pt x="3500628" y="341186"/>
                    <a:pt x="3547586" y="341186"/>
                  </a:cubicBezTo>
                  <a:cubicBezTo>
                    <a:pt x="3579400" y="341186"/>
                    <a:pt x="3608451" y="329279"/>
                    <a:pt x="3629311" y="309848"/>
                  </a:cubicBezTo>
                  <a:lnTo>
                    <a:pt x="3596545" y="267557"/>
                  </a:lnTo>
                  <a:cubicBezTo>
                    <a:pt x="3582734" y="281369"/>
                    <a:pt x="3569875" y="288512"/>
                    <a:pt x="3553301" y="288512"/>
                  </a:cubicBezTo>
                  <a:cubicBezTo>
                    <a:pt x="3530441" y="288512"/>
                    <a:pt x="3518154" y="272320"/>
                    <a:pt x="3518154" y="246221"/>
                  </a:cubicBezTo>
                  <a:cubicBezTo>
                    <a:pt x="3518154" y="234791"/>
                    <a:pt x="3519583" y="225266"/>
                    <a:pt x="3521488" y="214313"/>
                  </a:cubicBezTo>
                  <a:cubicBezTo>
                    <a:pt x="3525774" y="190976"/>
                    <a:pt x="3534823" y="169640"/>
                    <a:pt x="3547586" y="156305"/>
                  </a:cubicBezTo>
                  <a:cubicBezTo>
                    <a:pt x="3558064" y="145352"/>
                    <a:pt x="3569970" y="140589"/>
                    <a:pt x="3582734" y="140589"/>
                  </a:cubicBezTo>
                  <a:cubicBezTo>
                    <a:pt x="3597497" y="140589"/>
                    <a:pt x="3607499" y="148209"/>
                    <a:pt x="3616928" y="161068"/>
                  </a:cubicBezTo>
                  <a:lnTo>
                    <a:pt x="3661220" y="122111"/>
                  </a:lnTo>
                  <a:close/>
                  <a:moveTo>
                    <a:pt x="3456813" y="953"/>
                  </a:moveTo>
                  <a:lnTo>
                    <a:pt x="3395948" y="953"/>
                  </a:lnTo>
                  <a:lnTo>
                    <a:pt x="3386423" y="49816"/>
                  </a:lnTo>
                  <a:lnTo>
                    <a:pt x="3446812" y="49816"/>
                  </a:lnTo>
                  <a:lnTo>
                    <a:pt x="3456813" y="953"/>
                  </a:lnTo>
                  <a:close/>
                  <a:moveTo>
                    <a:pt x="3436906" y="98393"/>
                  </a:moveTo>
                  <a:lnTo>
                    <a:pt x="3377946" y="98393"/>
                  </a:lnTo>
                  <a:lnTo>
                    <a:pt x="3329940" y="338423"/>
                  </a:lnTo>
                  <a:lnTo>
                    <a:pt x="3388900" y="338423"/>
                  </a:lnTo>
                  <a:lnTo>
                    <a:pt x="3436906" y="98393"/>
                  </a:lnTo>
                  <a:close/>
                  <a:moveTo>
                    <a:pt x="3328035" y="98393"/>
                  </a:moveTo>
                  <a:lnTo>
                    <a:pt x="3287173" y="98393"/>
                  </a:lnTo>
                  <a:lnTo>
                    <a:pt x="3301937" y="24289"/>
                  </a:lnTo>
                  <a:lnTo>
                    <a:pt x="3242977" y="24289"/>
                  </a:lnTo>
                  <a:lnTo>
                    <a:pt x="3228213" y="98393"/>
                  </a:lnTo>
                  <a:lnTo>
                    <a:pt x="3203067" y="98393"/>
                  </a:lnTo>
                  <a:lnTo>
                    <a:pt x="3194019" y="142970"/>
                  </a:lnTo>
                  <a:lnTo>
                    <a:pt x="3219164" y="142970"/>
                  </a:lnTo>
                  <a:lnTo>
                    <a:pt x="3194971" y="264223"/>
                  </a:lnTo>
                  <a:cubicBezTo>
                    <a:pt x="3194019" y="269462"/>
                    <a:pt x="3193066" y="276130"/>
                    <a:pt x="3193066" y="284702"/>
                  </a:cubicBezTo>
                  <a:cubicBezTo>
                    <a:pt x="3193066" y="318421"/>
                    <a:pt x="3218688" y="338328"/>
                    <a:pt x="3252883" y="338328"/>
                  </a:cubicBezTo>
                  <a:lnTo>
                    <a:pt x="3283268" y="338328"/>
                  </a:lnTo>
                  <a:lnTo>
                    <a:pt x="3293269" y="288988"/>
                  </a:lnTo>
                  <a:lnTo>
                    <a:pt x="3271933" y="288988"/>
                  </a:lnTo>
                  <a:cubicBezTo>
                    <a:pt x="3259074" y="288988"/>
                    <a:pt x="3252883" y="283750"/>
                    <a:pt x="3252883" y="273748"/>
                  </a:cubicBezTo>
                  <a:cubicBezTo>
                    <a:pt x="3252883" y="271367"/>
                    <a:pt x="3252883" y="269462"/>
                    <a:pt x="3253836" y="264700"/>
                  </a:cubicBezTo>
                  <a:lnTo>
                    <a:pt x="3278029" y="142970"/>
                  </a:lnTo>
                  <a:lnTo>
                    <a:pt x="3318891" y="142970"/>
                  </a:lnTo>
                  <a:lnTo>
                    <a:pt x="3328035" y="98393"/>
                  </a:lnTo>
                  <a:close/>
                  <a:moveTo>
                    <a:pt x="3163062" y="118300"/>
                  </a:moveTo>
                  <a:cubicBezTo>
                    <a:pt x="3141726" y="96488"/>
                    <a:pt x="3116009" y="87916"/>
                    <a:pt x="3080861" y="87916"/>
                  </a:cubicBezTo>
                  <a:cubicBezTo>
                    <a:pt x="3045619" y="87916"/>
                    <a:pt x="3017139" y="97917"/>
                    <a:pt x="2998565" y="116396"/>
                  </a:cubicBezTo>
                  <a:cubicBezTo>
                    <a:pt x="2981992" y="132969"/>
                    <a:pt x="2973420" y="155353"/>
                    <a:pt x="2973420" y="178213"/>
                  </a:cubicBezTo>
                  <a:cubicBezTo>
                    <a:pt x="2973420" y="201549"/>
                    <a:pt x="2987707" y="226695"/>
                    <a:pt x="3032760" y="234315"/>
                  </a:cubicBezTo>
                  <a:lnTo>
                    <a:pt x="3065145" y="239554"/>
                  </a:lnTo>
                  <a:cubicBezTo>
                    <a:pt x="3079433" y="241935"/>
                    <a:pt x="3088481" y="246697"/>
                    <a:pt x="3088481" y="260032"/>
                  </a:cubicBezTo>
                  <a:cubicBezTo>
                    <a:pt x="3088481" y="274796"/>
                    <a:pt x="3071813" y="290894"/>
                    <a:pt x="3037999" y="290894"/>
                  </a:cubicBezTo>
                  <a:cubicBezTo>
                    <a:pt x="3009995" y="290894"/>
                    <a:pt x="2993327" y="281369"/>
                    <a:pt x="2981039" y="267081"/>
                  </a:cubicBezTo>
                  <a:lnTo>
                    <a:pt x="2938748" y="304133"/>
                  </a:lnTo>
                  <a:cubicBezTo>
                    <a:pt x="2960656" y="327850"/>
                    <a:pt x="2990088" y="341186"/>
                    <a:pt x="3034189" y="341186"/>
                  </a:cubicBezTo>
                  <a:cubicBezTo>
                    <a:pt x="3066098" y="341186"/>
                    <a:pt x="3100292" y="333565"/>
                    <a:pt x="3120295" y="314134"/>
                  </a:cubicBezTo>
                  <a:cubicBezTo>
                    <a:pt x="3136392" y="298513"/>
                    <a:pt x="3146870" y="278987"/>
                    <a:pt x="3146870" y="254222"/>
                  </a:cubicBezTo>
                  <a:cubicBezTo>
                    <a:pt x="3146870" y="220028"/>
                    <a:pt x="3131153" y="197167"/>
                    <a:pt x="3087053" y="190024"/>
                  </a:cubicBezTo>
                  <a:lnTo>
                    <a:pt x="3055144" y="184785"/>
                  </a:lnTo>
                  <a:cubicBezTo>
                    <a:pt x="3039904" y="182404"/>
                    <a:pt x="3032284" y="176689"/>
                    <a:pt x="3032284" y="166211"/>
                  </a:cubicBezTo>
                  <a:cubicBezTo>
                    <a:pt x="3032284" y="150971"/>
                    <a:pt x="3045619" y="136303"/>
                    <a:pt x="3075623" y="136303"/>
                  </a:cubicBezTo>
                  <a:cubicBezTo>
                    <a:pt x="3093244" y="136303"/>
                    <a:pt x="3111246" y="142018"/>
                    <a:pt x="3122676" y="153924"/>
                  </a:cubicBezTo>
                  <a:lnTo>
                    <a:pt x="3163062" y="118300"/>
                  </a:lnTo>
                  <a:close/>
                  <a:moveTo>
                    <a:pt x="2858453" y="231934"/>
                  </a:moveTo>
                  <a:lnTo>
                    <a:pt x="2855595" y="246697"/>
                  </a:lnTo>
                  <a:cubicBezTo>
                    <a:pt x="2853214" y="259080"/>
                    <a:pt x="2848451" y="270415"/>
                    <a:pt x="2840831" y="278035"/>
                  </a:cubicBezTo>
                  <a:cubicBezTo>
                    <a:pt x="2831783" y="287083"/>
                    <a:pt x="2818448" y="293275"/>
                    <a:pt x="2802350" y="293275"/>
                  </a:cubicBezTo>
                  <a:cubicBezTo>
                    <a:pt x="2780919" y="293275"/>
                    <a:pt x="2770918" y="283750"/>
                    <a:pt x="2770918" y="269938"/>
                  </a:cubicBezTo>
                  <a:cubicBezTo>
                    <a:pt x="2770918" y="248031"/>
                    <a:pt x="2786634" y="231838"/>
                    <a:pt x="2813209" y="231838"/>
                  </a:cubicBezTo>
                  <a:lnTo>
                    <a:pt x="2858453" y="231838"/>
                  </a:lnTo>
                  <a:close/>
                  <a:moveTo>
                    <a:pt x="2930652" y="156877"/>
                  </a:moveTo>
                  <a:cubicBezTo>
                    <a:pt x="2930652" y="104108"/>
                    <a:pt x="2884075" y="88011"/>
                    <a:pt x="2842736" y="88011"/>
                  </a:cubicBezTo>
                  <a:cubicBezTo>
                    <a:pt x="2796636" y="88011"/>
                    <a:pt x="2770918" y="100870"/>
                    <a:pt x="2751011" y="121253"/>
                  </a:cubicBezTo>
                  <a:lnTo>
                    <a:pt x="2781395" y="160687"/>
                  </a:lnTo>
                  <a:cubicBezTo>
                    <a:pt x="2793778" y="146875"/>
                    <a:pt x="2810447" y="137350"/>
                    <a:pt x="2834640" y="137350"/>
                  </a:cubicBezTo>
                  <a:cubicBezTo>
                    <a:pt x="2859405" y="137350"/>
                    <a:pt x="2871311" y="147352"/>
                    <a:pt x="2871311" y="164021"/>
                  </a:cubicBezTo>
                  <a:cubicBezTo>
                    <a:pt x="2871311" y="168783"/>
                    <a:pt x="2870835" y="172117"/>
                    <a:pt x="2869883" y="176879"/>
                  </a:cubicBezTo>
                  <a:lnTo>
                    <a:pt x="2866549" y="191643"/>
                  </a:lnTo>
                  <a:lnTo>
                    <a:pt x="2807589" y="191643"/>
                  </a:lnTo>
                  <a:cubicBezTo>
                    <a:pt x="2779014" y="191643"/>
                    <a:pt x="2753868" y="199263"/>
                    <a:pt x="2735390" y="217265"/>
                  </a:cubicBezTo>
                  <a:cubicBezTo>
                    <a:pt x="2721102" y="231457"/>
                    <a:pt x="2713101" y="251460"/>
                    <a:pt x="2713101" y="275749"/>
                  </a:cubicBezTo>
                  <a:cubicBezTo>
                    <a:pt x="2713101" y="313277"/>
                    <a:pt x="2740628" y="340805"/>
                    <a:pt x="2783872" y="340805"/>
                  </a:cubicBezTo>
                  <a:cubicBezTo>
                    <a:pt x="2811018" y="340805"/>
                    <a:pt x="2829973" y="330327"/>
                    <a:pt x="2843784" y="316611"/>
                  </a:cubicBezTo>
                  <a:lnTo>
                    <a:pt x="2839498" y="338423"/>
                  </a:lnTo>
                  <a:lnTo>
                    <a:pt x="2896076" y="338423"/>
                  </a:lnTo>
                  <a:lnTo>
                    <a:pt x="2928366" y="178784"/>
                  </a:lnTo>
                  <a:cubicBezTo>
                    <a:pt x="2929700" y="172021"/>
                    <a:pt x="2930652" y="163544"/>
                    <a:pt x="2930652" y="156877"/>
                  </a:cubicBezTo>
                  <a:moveTo>
                    <a:pt x="2697766" y="0"/>
                  </a:moveTo>
                  <a:lnTo>
                    <a:pt x="2638806" y="0"/>
                  </a:lnTo>
                  <a:lnTo>
                    <a:pt x="2586133" y="264223"/>
                  </a:lnTo>
                  <a:cubicBezTo>
                    <a:pt x="2584704" y="270891"/>
                    <a:pt x="2584228" y="277082"/>
                    <a:pt x="2584228" y="284702"/>
                  </a:cubicBezTo>
                  <a:cubicBezTo>
                    <a:pt x="2584228" y="318421"/>
                    <a:pt x="2609374" y="338328"/>
                    <a:pt x="2643569" y="338328"/>
                  </a:cubicBezTo>
                  <a:lnTo>
                    <a:pt x="2675858" y="338328"/>
                  </a:lnTo>
                  <a:lnTo>
                    <a:pt x="2685860" y="288512"/>
                  </a:lnTo>
                  <a:lnTo>
                    <a:pt x="2661666" y="288512"/>
                  </a:lnTo>
                  <a:cubicBezTo>
                    <a:pt x="2648807" y="288512"/>
                    <a:pt x="2643569" y="283273"/>
                    <a:pt x="2643569" y="274225"/>
                  </a:cubicBezTo>
                  <a:cubicBezTo>
                    <a:pt x="2643569" y="270415"/>
                    <a:pt x="2644045" y="268033"/>
                    <a:pt x="2644997" y="263747"/>
                  </a:cubicBezTo>
                  <a:lnTo>
                    <a:pt x="2697766" y="0"/>
                  </a:lnTo>
                  <a:close/>
                  <a:moveTo>
                    <a:pt x="2514791" y="94583"/>
                  </a:moveTo>
                  <a:cubicBezTo>
                    <a:pt x="2514791" y="120301"/>
                    <a:pt x="2496217" y="151638"/>
                    <a:pt x="2455355" y="151638"/>
                  </a:cubicBezTo>
                  <a:lnTo>
                    <a:pt x="2399253" y="151638"/>
                  </a:lnTo>
                  <a:lnTo>
                    <a:pt x="2418779" y="55531"/>
                  </a:lnTo>
                  <a:lnTo>
                    <a:pt x="2476786" y="55531"/>
                  </a:lnTo>
                  <a:cubicBezTo>
                    <a:pt x="2504885" y="55531"/>
                    <a:pt x="2514791" y="73152"/>
                    <a:pt x="2514791" y="94583"/>
                  </a:cubicBezTo>
                  <a:moveTo>
                    <a:pt x="2578037" y="89345"/>
                  </a:moveTo>
                  <a:cubicBezTo>
                    <a:pt x="2578037" y="36576"/>
                    <a:pt x="2544795" y="0"/>
                    <a:pt x="2487359" y="0"/>
                  </a:cubicBezTo>
                  <a:lnTo>
                    <a:pt x="2367058" y="0"/>
                  </a:lnTo>
                  <a:lnTo>
                    <a:pt x="2299049" y="338328"/>
                  </a:lnTo>
                  <a:lnTo>
                    <a:pt x="2361819" y="338328"/>
                  </a:lnTo>
                  <a:lnTo>
                    <a:pt x="2387918" y="207169"/>
                  </a:lnTo>
                  <a:lnTo>
                    <a:pt x="2453069" y="207169"/>
                  </a:lnTo>
                  <a:cubicBezTo>
                    <a:pt x="2534317" y="207169"/>
                    <a:pt x="2578037" y="149733"/>
                    <a:pt x="2578037" y="89345"/>
                  </a:cubicBezTo>
                  <a:moveTo>
                    <a:pt x="2105501" y="173546"/>
                  </a:moveTo>
                  <a:cubicBezTo>
                    <a:pt x="2105501" y="181165"/>
                    <a:pt x="2104073" y="192596"/>
                    <a:pt x="2101215" y="207740"/>
                  </a:cubicBezTo>
                  <a:cubicBezTo>
                    <a:pt x="2092643" y="252413"/>
                    <a:pt x="2079307" y="275272"/>
                    <a:pt x="2048923" y="275272"/>
                  </a:cubicBezTo>
                  <a:cubicBezTo>
                    <a:pt x="2027111" y="275272"/>
                    <a:pt x="2019490" y="260985"/>
                    <a:pt x="2019490" y="242506"/>
                  </a:cubicBezTo>
                  <a:cubicBezTo>
                    <a:pt x="2019490" y="234887"/>
                    <a:pt x="2020919" y="223456"/>
                    <a:pt x="2023777" y="208312"/>
                  </a:cubicBezTo>
                  <a:cubicBezTo>
                    <a:pt x="2032349" y="163639"/>
                    <a:pt x="2045589" y="140779"/>
                    <a:pt x="2076069" y="140779"/>
                  </a:cubicBezTo>
                  <a:cubicBezTo>
                    <a:pt x="2096072" y="140684"/>
                    <a:pt x="2105501" y="152971"/>
                    <a:pt x="2105501" y="173546"/>
                  </a:cubicBezTo>
                  <a:lnTo>
                    <a:pt x="2105501" y="173546"/>
                  </a:lnTo>
                  <a:close/>
                  <a:moveTo>
                    <a:pt x="2183035" y="90773"/>
                  </a:moveTo>
                  <a:lnTo>
                    <a:pt x="2125980" y="90773"/>
                  </a:lnTo>
                  <a:lnTo>
                    <a:pt x="2121218" y="115919"/>
                  </a:lnTo>
                  <a:cubicBezTo>
                    <a:pt x="2109788" y="97346"/>
                    <a:pt x="2090833" y="87821"/>
                    <a:pt x="2065115" y="87821"/>
                  </a:cubicBezTo>
                  <a:cubicBezTo>
                    <a:pt x="2042827" y="87821"/>
                    <a:pt x="2020443" y="94012"/>
                    <a:pt x="2001964" y="112490"/>
                  </a:cubicBezTo>
                  <a:cubicBezTo>
                    <a:pt x="1983010" y="131445"/>
                    <a:pt x="1973485" y="160020"/>
                    <a:pt x="1964912" y="207550"/>
                  </a:cubicBezTo>
                  <a:cubicBezTo>
                    <a:pt x="1961102" y="228505"/>
                    <a:pt x="1958721" y="246031"/>
                    <a:pt x="1958721" y="257937"/>
                  </a:cubicBezTo>
                  <a:cubicBezTo>
                    <a:pt x="1958721" y="304514"/>
                    <a:pt x="1990535" y="327755"/>
                    <a:pt x="2027111" y="327755"/>
                  </a:cubicBezTo>
                  <a:cubicBezTo>
                    <a:pt x="2051876" y="327755"/>
                    <a:pt x="2069402" y="318230"/>
                    <a:pt x="2082260" y="303086"/>
                  </a:cubicBezTo>
                  <a:lnTo>
                    <a:pt x="2077022" y="328231"/>
                  </a:lnTo>
                  <a:cubicBezTo>
                    <a:pt x="2070354" y="360140"/>
                    <a:pt x="2049494" y="381953"/>
                    <a:pt x="2016633" y="381953"/>
                  </a:cubicBezTo>
                  <a:cubicBezTo>
                    <a:pt x="1993392" y="381953"/>
                    <a:pt x="1982914" y="370999"/>
                    <a:pt x="1975295" y="362426"/>
                  </a:cubicBezTo>
                  <a:lnTo>
                    <a:pt x="1934432" y="398050"/>
                  </a:lnTo>
                  <a:cubicBezTo>
                    <a:pt x="1955387" y="421767"/>
                    <a:pt x="1980533" y="431768"/>
                    <a:pt x="2016633" y="431768"/>
                  </a:cubicBezTo>
                  <a:cubicBezTo>
                    <a:pt x="2073688" y="431768"/>
                    <a:pt x="2121218" y="400907"/>
                    <a:pt x="2135505" y="328613"/>
                  </a:cubicBezTo>
                  <a:lnTo>
                    <a:pt x="2183035" y="90773"/>
                  </a:lnTo>
                  <a:close/>
                  <a:moveTo>
                    <a:pt x="1924431" y="156305"/>
                  </a:moveTo>
                  <a:cubicBezTo>
                    <a:pt x="1924431" y="107347"/>
                    <a:pt x="1890236" y="87916"/>
                    <a:pt x="1861280" y="87916"/>
                  </a:cubicBezTo>
                  <a:cubicBezTo>
                    <a:pt x="1835563" y="87916"/>
                    <a:pt x="1811846" y="97441"/>
                    <a:pt x="1796129" y="114490"/>
                  </a:cubicBezTo>
                  <a:lnTo>
                    <a:pt x="1800415" y="90773"/>
                  </a:lnTo>
                  <a:lnTo>
                    <a:pt x="1743837" y="90773"/>
                  </a:lnTo>
                  <a:lnTo>
                    <a:pt x="1694402" y="338328"/>
                  </a:lnTo>
                  <a:lnTo>
                    <a:pt x="1753362" y="338328"/>
                  </a:lnTo>
                  <a:lnTo>
                    <a:pt x="1783747" y="188119"/>
                  </a:lnTo>
                  <a:cubicBezTo>
                    <a:pt x="1791367" y="149066"/>
                    <a:pt x="1816989" y="140589"/>
                    <a:pt x="1834134" y="140589"/>
                  </a:cubicBezTo>
                  <a:cubicBezTo>
                    <a:pt x="1849374" y="140589"/>
                    <a:pt x="1863566" y="150114"/>
                    <a:pt x="1863566" y="171450"/>
                  </a:cubicBezTo>
                  <a:cubicBezTo>
                    <a:pt x="1863566" y="176213"/>
                    <a:pt x="1862614" y="181928"/>
                    <a:pt x="1861661" y="187642"/>
                  </a:cubicBezTo>
                  <a:lnTo>
                    <a:pt x="1831277" y="338328"/>
                  </a:lnTo>
                  <a:lnTo>
                    <a:pt x="1890141" y="338328"/>
                  </a:lnTo>
                  <a:lnTo>
                    <a:pt x="1921002" y="183832"/>
                  </a:lnTo>
                  <a:cubicBezTo>
                    <a:pt x="1923002" y="175831"/>
                    <a:pt x="1924431" y="165354"/>
                    <a:pt x="1924431" y="156305"/>
                  </a:cubicBezTo>
                  <a:moveTo>
                    <a:pt x="1702022" y="953"/>
                  </a:moveTo>
                  <a:lnTo>
                    <a:pt x="1641157" y="953"/>
                  </a:lnTo>
                  <a:lnTo>
                    <a:pt x="1631632" y="49816"/>
                  </a:lnTo>
                  <a:lnTo>
                    <a:pt x="1692021" y="49816"/>
                  </a:lnTo>
                  <a:lnTo>
                    <a:pt x="1702022" y="953"/>
                  </a:lnTo>
                  <a:close/>
                  <a:moveTo>
                    <a:pt x="1682115" y="98393"/>
                  </a:moveTo>
                  <a:lnTo>
                    <a:pt x="1623155" y="98393"/>
                  </a:lnTo>
                  <a:lnTo>
                    <a:pt x="1575149" y="338423"/>
                  </a:lnTo>
                  <a:lnTo>
                    <a:pt x="1634109" y="338423"/>
                  </a:lnTo>
                  <a:lnTo>
                    <a:pt x="1682115" y="98393"/>
                  </a:lnTo>
                  <a:close/>
                  <a:moveTo>
                    <a:pt x="1592199" y="111252"/>
                  </a:moveTo>
                  <a:cubicBezTo>
                    <a:pt x="1578864" y="95536"/>
                    <a:pt x="1563243" y="88011"/>
                    <a:pt x="1539431" y="88011"/>
                  </a:cubicBezTo>
                  <a:cubicBezTo>
                    <a:pt x="1513713" y="88011"/>
                    <a:pt x="1490472" y="98488"/>
                    <a:pt x="1476661" y="115062"/>
                  </a:cubicBezTo>
                  <a:lnTo>
                    <a:pt x="1481900" y="90869"/>
                  </a:lnTo>
                  <a:lnTo>
                    <a:pt x="1424845" y="90869"/>
                  </a:lnTo>
                  <a:lnTo>
                    <a:pt x="1375410" y="338423"/>
                  </a:lnTo>
                  <a:lnTo>
                    <a:pt x="1434370" y="338423"/>
                  </a:lnTo>
                  <a:lnTo>
                    <a:pt x="1464278" y="188690"/>
                  </a:lnTo>
                  <a:cubicBezTo>
                    <a:pt x="1469993" y="160115"/>
                    <a:pt x="1490853" y="141161"/>
                    <a:pt x="1514189" y="141161"/>
                  </a:cubicBezTo>
                  <a:cubicBezTo>
                    <a:pt x="1527048" y="141161"/>
                    <a:pt x="1535144" y="148304"/>
                    <a:pt x="1541240" y="156400"/>
                  </a:cubicBezTo>
                  <a:lnTo>
                    <a:pt x="1592199" y="111252"/>
                  </a:lnTo>
                  <a:close/>
                  <a:moveTo>
                    <a:pt x="1298067" y="176308"/>
                  </a:moveTo>
                  <a:cubicBezTo>
                    <a:pt x="1298067" y="181546"/>
                    <a:pt x="1297591" y="187738"/>
                    <a:pt x="1296638" y="192977"/>
                  </a:cubicBezTo>
                  <a:lnTo>
                    <a:pt x="1205770" y="192977"/>
                  </a:lnTo>
                  <a:cubicBezTo>
                    <a:pt x="1216724" y="152495"/>
                    <a:pt x="1237679" y="136303"/>
                    <a:pt x="1262825" y="136303"/>
                  </a:cubicBezTo>
                  <a:cubicBezTo>
                    <a:pt x="1283780" y="136398"/>
                    <a:pt x="1298067" y="150209"/>
                    <a:pt x="1298067" y="176308"/>
                  </a:cubicBezTo>
                  <a:moveTo>
                    <a:pt x="1354074" y="176308"/>
                  </a:moveTo>
                  <a:cubicBezTo>
                    <a:pt x="1354074" y="122587"/>
                    <a:pt x="1318451" y="87916"/>
                    <a:pt x="1266158" y="87916"/>
                  </a:cubicBezTo>
                  <a:cubicBezTo>
                    <a:pt x="1180529" y="87916"/>
                    <a:pt x="1140238" y="171069"/>
                    <a:pt x="1140238" y="254222"/>
                  </a:cubicBezTo>
                  <a:cubicBezTo>
                    <a:pt x="1140238" y="319373"/>
                    <a:pt x="1189101" y="341186"/>
                    <a:pt x="1231964" y="341186"/>
                  </a:cubicBezTo>
                  <a:cubicBezTo>
                    <a:pt x="1269111" y="341186"/>
                    <a:pt x="1302830" y="328803"/>
                    <a:pt x="1328452" y="305086"/>
                  </a:cubicBezTo>
                  <a:lnTo>
                    <a:pt x="1297591" y="266129"/>
                  </a:lnTo>
                  <a:cubicBezTo>
                    <a:pt x="1280446" y="282797"/>
                    <a:pt x="1262348" y="291370"/>
                    <a:pt x="1238631" y="291370"/>
                  </a:cubicBezTo>
                  <a:cubicBezTo>
                    <a:pt x="1210056" y="291370"/>
                    <a:pt x="1196340" y="274225"/>
                    <a:pt x="1196340" y="249936"/>
                  </a:cubicBezTo>
                  <a:cubicBezTo>
                    <a:pt x="1196340" y="244221"/>
                    <a:pt x="1197293" y="238030"/>
                    <a:pt x="1198245" y="232315"/>
                  </a:cubicBezTo>
                  <a:lnTo>
                    <a:pt x="1346549" y="232315"/>
                  </a:lnTo>
                  <a:cubicBezTo>
                    <a:pt x="1350740" y="213360"/>
                    <a:pt x="1354074" y="192977"/>
                    <a:pt x="1354074" y="176308"/>
                  </a:cubicBezTo>
                  <a:moveTo>
                    <a:pt x="1054227" y="176308"/>
                  </a:moveTo>
                  <a:cubicBezTo>
                    <a:pt x="1054227" y="181546"/>
                    <a:pt x="1053751" y="187738"/>
                    <a:pt x="1052798" y="192977"/>
                  </a:cubicBezTo>
                  <a:lnTo>
                    <a:pt x="961930" y="192977"/>
                  </a:lnTo>
                  <a:cubicBezTo>
                    <a:pt x="972884" y="152495"/>
                    <a:pt x="993838" y="136303"/>
                    <a:pt x="1018984" y="136303"/>
                  </a:cubicBezTo>
                  <a:cubicBezTo>
                    <a:pt x="1039940" y="136398"/>
                    <a:pt x="1054227" y="150209"/>
                    <a:pt x="1054227" y="176308"/>
                  </a:cubicBezTo>
                  <a:moveTo>
                    <a:pt x="1110234" y="176308"/>
                  </a:moveTo>
                  <a:cubicBezTo>
                    <a:pt x="1110234" y="122587"/>
                    <a:pt x="1074611" y="87916"/>
                    <a:pt x="1022318" y="87916"/>
                  </a:cubicBezTo>
                  <a:cubicBezTo>
                    <a:pt x="936688" y="87916"/>
                    <a:pt x="896398" y="171069"/>
                    <a:pt x="896398" y="254222"/>
                  </a:cubicBezTo>
                  <a:cubicBezTo>
                    <a:pt x="896398" y="319373"/>
                    <a:pt x="945261" y="341186"/>
                    <a:pt x="988124" y="341186"/>
                  </a:cubicBezTo>
                  <a:cubicBezTo>
                    <a:pt x="1025176" y="341186"/>
                    <a:pt x="1058990" y="328803"/>
                    <a:pt x="1084612" y="305086"/>
                  </a:cubicBezTo>
                  <a:lnTo>
                    <a:pt x="1053751" y="266129"/>
                  </a:lnTo>
                  <a:cubicBezTo>
                    <a:pt x="1036606" y="282797"/>
                    <a:pt x="1018604" y="291370"/>
                    <a:pt x="994791" y="291370"/>
                  </a:cubicBezTo>
                  <a:cubicBezTo>
                    <a:pt x="966216" y="291370"/>
                    <a:pt x="952500" y="274225"/>
                    <a:pt x="952500" y="249936"/>
                  </a:cubicBezTo>
                  <a:cubicBezTo>
                    <a:pt x="952500" y="244221"/>
                    <a:pt x="953453" y="238030"/>
                    <a:pt x="954405" y="232315"/>
                  </a:cubicBezTo>
                  <a:lnTo>
                    <a:pt x="1102709" y="232315"/>
                  </a:lnTo>
                  <a:cubicBezTo>
                    <a:pt x="1106900" y="213360"/>
                    <a:pt x="1110234" y="192977"/>
                    <a:pt x="1110234" y="176308"/>
                  </a:cubicBezTo>
                  <a:moveTo>
                    <a:pt x="863537" y="156305"/>
                  </a:moveTo>
                  <a:cubicBezTo>
                    <a:pt x="863537" y="107347"/>
                    <a:pt x="829342" y="87916"/>
                    <a:pt x="800386" y="87916"/>
                  </a:cubicBezTo>
                  <a:cubicBezTo>
                    <a:pt x="774763" y="87916"/>
                    <a:pt x="750951" y="97441"/>
                    <a:pt x="735235" y="114490"/>
                  </a:cubicBezTo>
                  <a:lnTo>
                    <a:pt x="739521" y="90773"/>
                  </a:lnTo>
                  <a:lnTo>
                    <a:pt x="682943" y="90773"/>
                  </a:lnTo>
                  <a:lnTo>
                    <a:pt x="633508" y="338328"/>
                  </a:lnTo>
                  <a:lnTo>
                    <a:pt x="692468" y="338328"/>
                  </a:lnTo>
                  <a:lnTo>
                    <a:pt x="722852" y="188119"/>
                  </a:lnTo>
                  <a:cubicBezTo>
                    <a:pt x="730472" y="149066"/>
                    <a:pt x="756095" y="140589"/>
                    <a:pt x="773240" y="140589"/>
                  </a:cubicBezTo>
                  <a:cubicBezTo>
                    <a:pt x="788480" y="140589"/>
                    <a:pt x="802672" y="150114"/>
                    <a:pt x="802672" y="171450"/>
                  </a:cubicBezTo>
                  <a:cubicBezTo>
                    <a:pt x="802672" y="176213"/>
                    <a:pt x="801719" y="181928"/>
                    <a:pt x="800767" y="187642"/>
                  </a:cubicBezTo>
                  <a:lnTo>
                    <a:pt x="770382" y="338328"/>
                  </a:lnTo>
                  <a:lnTo>
                    <a:pt x="829247" y="338328"/>
                  </a:lnTo>
                  <a:lnTo>
                    <a:pt x="860108" y="183832"/>
                  </a:lnTo>
                  <a:cubicBezTo>
                    <a:pt x="862108" y="175831"/>
                    <a:pt x="863537" y="165354"/>
                    <a:pt x="863537" y="156305"/>
                  </a:cubicBezTo>
                  <a:moveTo>
                    <a:pt x="553688" y="176308"/>
                  </a:moveTo>
                  <a:cubicBezTo>
                    <a:pt x="553688" y="181546"/>
                    <a:pt x="552736" y="193453"/>
                    <a:pt x="548450" y="214313"/>
                  </a:cubicBezTo>
                  <a:cubicBezTo>
                    <a:pt x="542734" y="245269"/>
                    <a:pt x="535115" y="264700"/>
                    <a:pt x="523208" y="276130"/>
                  </a:cubicBezTo>
                  <a:cubicBezTo>
                    <a:pt x="515588" y="283750"/>
                    <a:pt x="505111" y="288512"/>
                    <a:pt x="492824" y="288512"/>
                  </a:cubicBezTo>
                  <a:cubicBezTo>
                    <a:pt x="474250" y="288512"/>
                    <a:pt x="461391" y="276606"/>
                    <a:pt x="461391" y="252889"/>
                  </a:cubicBezTo>
                  <a:cubicBezTo>
                    <a:pt x="461391" y="247174"/>
                    <a:pt x="462344" y="235744"/>
                    <a:pt x="466630" y="214408"/>
                  </a:cubicBezTo>
                  <a:cubicBezTo>
                    <a:pt x="472821" y="184023"/>
                    <a:pt x="479965" y="164497"/>
                    <a:pt x="491871" y="153067"/>
                  </a:cubicBezTo>
                  <a:cubicBezTo>
                    <a:pt x="499491" y="145447"/>
                    <a:pt x="510445" y="140684"/>
                    <a:pt x="522351" y="140684"/>
                  </a:cubicBezTo>
                  <a:cubicBezTo>
                    <a:pt x="540925" y="140684"/>
                    <a:pt x="553688" y="152019"/>
                    <a:pt x="553688" y="176308"/>
                  </a:cubicBezTo>
                  <a:moveTo>
                    <a:pt x="612172" y="169640"/>
                  </a:moveTo>
                  <a:cubicBezTo>
                    <a:pt x="612172" y="112586"/>
                    <a:pt x="569881" y="87916"/>
                    <a:pt x="528542" y="87916"/>
                  </a:cubicBezTo>
                  <a:cubicBezTo>
                    <a:pt x="497110" y="87916"/>
                    <a:pt x="471011" y="98393"/>
                    <a:pt x="452438" y="116396"/>
                  </a:cubicBezTo>
                  <a:cubicBezTo>
                    <a:pt x="430625" y="137255"/>
                    <a:pt x="418719" y="162496"/>
                    <a:pt x="408242" y="214313"/>
                  </a:cubicBezTo>
                  <a:cubicBezTo>
                    <a:pt x="405860" y="225742"/>
                    <a:pt x="403003" y="244316"/>
                    <a:pt x="403003" y="259461"/>
                  </a:cubicBezTo>
                  <a:cubicBezTo>
                    <a:pt x="403003" y="316516"/>
                    <a:pt x="445294" y="341186"/>
                    <a:pt x="487109" y="341186"/>
                  </a:cubicBezTo>
                  <a:cubicBezTo>
                    <a:pt x="518541" y="341186"/>
                    <a:pt x="544163" y="330708"/>
                    <a:pt x="563213" y="312706"/>
                  </a:cubicBezTo>
                  <a:cubicBezTo>
                    <a:pt x="584549" y="291846"/>
                    <a:pt x="596932" y="266605"/>
                    <a:pt x="607409" y="214313"/>
                  </a:cubicBezTo>
                  <a:cubicBezTo>
                    <a:pt x="609314" y="203454"/>
                    <a:pt x="612172" y="184880"/>
                    <a:pt x="612172" y="169640"/>
                  </a:cubicBezTo>
                  <a:moveTo>
                    <a:pt x="401098" y="953"/>
                  </a:moveTo>
                  <a:lnTo>
                    <a:pt x="340233" y="953"/>
                  </a:lnTo>
                  <a:lnTo>
                    <a:pt x="330708" y="49816"/>
                  </a:lnTo>
                  <a:lnTo>
                    <a:pt x="391096" y="49816"/>
                  </a:lnTo>
                  <a:lnTo>
                    <a:pt x="401098" y="953"/>
                  </a:lnTo>
                  <a:close/>
                  <a:moveTo>
                    <a:pt x="381191" y="98393"/>
                  </a:moveTo>
                  <a:lnTo>
                    <a:pt x="322231" y="98393"/>
                  </a:lnTo>
                  <a:lnTo>
                    <a:pt x="274225" y="338423"/>
                  </a:lnTo>
                  <a:lnTo>
                    <a:pt x="333184" y="338423"/>
                  </a:lnTo>
                  <a:lnTo>
                    <a:pt x="381191" y="98393"/>
                  </a:lnTo>
                  <a:close/>
                  <a:moveTo>
                    <a:pt x="215741" y="94583"/>
                  </a:moveTo>
                  <a:cubicBezTo>
                    <a:pt x="215741" y="120301"/>
                    <a:pt x="197167" y="151638"/>
                    <a:pt x="156305" y="151638"/>
                  </a:cubicBezTo>
                  <a:lnTo>
                    <a:pt x="100203" y="151638"/>
                  </a:lnTo>
                  <a:lnTo>
                    <a:pt x="119729" y="55531"/>
                  </a:lnTo>
                  <a:lnTo>
                    <a:pt x="177737" y="55531"/>
                  </a:lnTo>
                  <a:cubicBezTo>
                    <a:pt x="205835" y="55531"/>
                    <a:pt x="215741" y="73152"/>
                    <a:pt x="215741" y="94583"/>
                  </a:cubicBezTo>
                  <a:moveTo>
                    <a:pt x="278987" y="89345"/>
                  </a:moveTo>
                  <a:cubicBezTo>
                    <a:pt x="278987" y="36576"/>
                    <a:pt x="245745" y="0"/>
                    <a:pt x="188214" y="0"/>
                  </a:cubicBezTo>
                  <a:lnTo>
                    <a:pt x="68008" y="0"/>
                  </a:lnTo>
                  <a:lnTo>
                    <a:pt x="0" y="338328"/>
                  </a:lnTo>
                  <a:lnTo>
                    <a:pt x="62770" y="338328"/>
                  </a:lnTo>
                  <a:lnTo>
                    <a:pt x="88868" y="207169"/>
                  </a:lnTo>
                  <a:lnTo>
                    <a:pt x="154019" y="207169"/>
                  </a:lnTo>
                  <a:cubicBezTo>
                    <a:pt x="235267" y="207169"/>
                    <a:pt x="278987" y="149733"/>
                    <a:pt x="278987" y="89345"/>
                  </a:cubicBezTo>
                </a:path>
              </a:pathLst>
            </a:custGeom>
            <a:solidFill>
              <a:srgbClr val="FF83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9" name="Gruppieren 28">
              <a:extLst>
                <a:ext uri="{FF2B5EF4-FFF2-40B4-BE49-F238E27FC236}">
                  <a16:creationId xmlns:a16="http://schemas.microsoft.com/office/drawing/2014/main" id="{8D7E9C11-4AE2-4D59-A73C-1D584A64CC0D}"/>
                </a:ext>
              </a:extLst>
            </p:cNvPr>
            <p:cNvGrpSpPr/>
            <p:nvPr/>
          </p:nvGrpSpPr>
          <p:grpSpPr>
            <a:xfrm>
              <a:off x="9237264" y="1690722"/>
              <a:ext cx="2576929" cy="342865"/>
              <a:chOff x="7825183" y="3513172"/>
              <a:chExt cx="2540191" cy="337977"/>
            </a:xfrm>
            <a:solidFill>
              <a:schemeClr val="bg1"/>
            </a:solidFill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733DF984-9B11-4FF8-B0DF-8AB7A9F914EA}"/>
                  </a:ext>
                </a:extLst>
              </p:cNvPr>
              <p:cNvSpPr/>
              <p:nvPr/>
            </p:nvSpPr>
            <p:spPr>
              <a:xfrm>
                <a:off x="8092635" y="3606967"/>
                <a:ext cx="158000" cy="229819"/>
              </a:xfrm>
              <a:custGeom>
                <a:avLst/>
                <a:gdLst>
                  <a:gd name="connsiteX0" fmla="*/ 105061 w 104775"/>
                  <a:gd name="connsiteY0" fmla="*/ 0 h 152400"/>
                  <a:gd name="connsiteX1" fmla="*/ 110204 w 104775"/>
                  <a:gd name="connsiteY1" fmla="*/ 381 h 152400"/>
                  <a:gd name="connsiteX2" fmla="*/ 102680 w 104775"/>
                  <a:gd name="connsiteY2" fmla="*/ 37719 h 152400"/>
                  <a:gd name="connsiteX3" fmla="*/ 88868 w 104775"/>
                  <a:gd name="connsiteY3" fmla="*/ 34957 h 152400"/>
                  <a:gd name="connsiteX4" fmla="*/ 56769 w 104775"/>
                  <a:gd name="connsiteY4" fmla="*/ 64770 h 152400"/>
                  <a:gd name="connsiteX5" fmla="*/ 37910 w 104775"/>
                  <a:gd name="connsiteY5" fmla="*/ 159448 h 152400"/>
                  <a:gd name="connsiteX6" fmla="*/ 0 w 104775"/>
                  <a:gd name="connsiteY6" fmla="*/ 159448 h 152400"/>
                  <a:gd name="connsiteX7" fmla="*/ 31147 w 104775"/>
                  <a:gd name="connsiteY7" fmla="*/ 3429 h 152400"/>
                  <a:gd name="connsiteX8" fmla="*/ 67818 w 104775"/>
                  <a:gd name="connsiteY8" fmla="*/ 3429 h 152400"/>
                  <a:gd name="connsiteX9" fmla="*/ 64770 w 104775"/>
                  <a:gd name="connsiteY9" fmla="*/ 17526 h 152400"/>
                  <a:gd name="connsiteX10" fmla="*/ 105061 w 104775"/>
                  <a:gd name="connsiteY10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4775" h="152400">
                    <a:moveTo>
                      <a:pt x="105061" y="0"/>
                    </a:moveTo>
                    <a:cubicBezTo>
                      <a:pt x="106775" y="0"/>
                      <a:pt x="108966" y="190"/>
                      <a:pt x="110204" y="381"/>
                    </a:cubicBezTo>
                    <a:lnTo>
                      <a:pt x="102680" y="37719"/>
                    </a:lnTo>
                    <a:cubicBezTo>
                      <a:pt x="98107" y="35719"/>
                      <a:pt x="92964" y="34957"/>
                      <a:pt x="88868" y="34957"/>
                    </a:cubicBezTo>
                    <a:cubicBezTo>
                      <a:pt x="73914" y="34957"/>
                      <a:pt x="60484" y="46482"/>
                      <a:pt x="56769" y="64770"/>
                    </a:cubicBezTo>
                    <a:lnTo>
                      <a:pt x="37910" y="159448"/>
                    </a:lnTo>
                    <a:lnTo>
                      <a:pt x="0" y="159448"/>
                    </a:lnTo>
                    <a:lnTo>
                      <a:pt x="31147" y="3429"/>
                    </a:lnTo>
                    <a:lnTo>
                      <a:pt x="67818" y="3429"/>
                    </a:lnTo>
                    <a:lnTo>
                      <a:pt x="64770" y="17526"/>
                    </a:lnTo>
                    <a:cubicBezTo>
                      <a:pt x="73629" y="6763"/>
                      <a:pt x="88582" y="0"/>
                      <a:pt x="105061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D4ED01E7-542F-441A-B1F0-DE0C80C25F7B}"/>
                  </a:ext>
                </a:extLst>
              </p:cNvPr>
              <p:cNvSpPr/>
              <p:nvPr/>
            </p:nvSpPr>
            <p:spPr>
              <a:xfrm>
                <a:off x="8484763" y="3612137"/>
                <a:ext cx="215455" cy="229819"/>
              </a:xfrm>
              <a:custGeom>
                <a:avLst/>
                <a:gdLst>
                  <a:gd name="connsiteX0" fmla="*/ 149066 w 142875"/>
                  <a:gd name="connsiteY0" fmla="*/ 0 h 152400"/>
                  <a:gd name="connsiteX1" fmla="*/ 118206 w 142875"/>
                  <a:gd name="connsiteY1" fmla="*/ 156020 h 152400"/>
                  <a:gd name="connsiteX2" fmla="*/ 81820 w 142875"/>
                  <a:gd name="connsiteY2" fmla="*/ 156020 h 152400"/>
                  <a:gd name="connsiteX3" fmla="*/ 84297 w 142875"/>
                  <a:gd name="connsiteY3" fmla="*/ 142399 h 152400"/>
                  <a:gd name="connsiteX4" fmla="*/ 40672 w 142875"/>
                  <a:gd name="connsiteY4" fmla="*/ 159449 h 152400"/>
                  <a:gd name="connsiteX5" fmla="*/ 0 w 142875"/>
                  <a:gd name="connsiteY5" fmla="*/ 115157 h 152400"/>
                  <a:gd name="connsiteX6" fmla="*/ 1810 w 142875"/>
                  <a:gd name="connsiteY6" fmla="*/ 97727 h 152400"/>
                  <a:gd name="connsiteX7" fmla="*/ 21336 w 142875"/>
                  <a:gd name="connsiteY7" fmla="*/ 0 h 152400"/>
                  <a:gd name="connsiteX8" fmla="*/ 59246 w 142875"/>
                  <a:gd name="connsiteY8" fmla="*/ 0 h 152400"/>
                  <a:gd name="connsiteX9" fmla="*/ 40291 w 142875"/>
                  <a:gd name="connsiteY9" fmla="*/ 95345 h 152400"/>
                  <a:gd name="connsiteX10" fmla="*/ 39053 w 142875"/>
                  <a:gd name="connsiteY10" fmla="*/ 105728 h 152400"/>
                  <a:gd name="connsiteX11" fmla="*/ 58008 w 142875"/>
                  <a:gd name="connsiteY11" fmla="*/ 125635 h 152400"/>
                  <a:gd name="connsiteX12" fmla="*/ 92107 w 142875"/>
                  <a:gd name="connsiteY12" fmla="*/ 95060 h 152400"/>
                  <a:gd name="connsiteX13" fmla="*/ 110966 w 142875"/>
                  <a:gd name="connsiteY13" fmla="*/ 95 h 152400"/>
                  <a:gd name="connsiteX14" fmla="*/ 149066 w 142875"/>
                  <a:gd name="connsiteY14" fmla="*/ 9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2875" h="152400">
                    <a:moveTo>
                      <a:pt x="149066" y="0"/>
                    </a:moveTo>
                    <a:lnTo>
                      <a:pt x="118206" y="156020"/>
                    </a:lnTo>
                    <a:lnTo>
                      <a:pt x="81820" y="156020"/>
                    </a:lnTo>
                    <a:lnTo>
                      <a:pt x="84297" y="142399"/>
                    </a:lnTo>
                    <a:cubicBezTo>
                      <a:pt x="73914" y="153067"/>
                      <a:pt x="57150" y="159449"/>
                      <a:pt x="40672" y="159449"/>
                    </a:cubicBezTo>
                    <a:cubicBezTo>
                      <a:pt x="22003" y="159449"/>
                      <a:pt x="0" y="146971"/>
                      <a:pt x="0" y="115157"/>
                    </a:cubicBezTo>
                    <a:cubicBezTo>
                      <a:pt x="0" y="108776"/>
                      <a:pt x="953" y="102965"/>
                      <a:pt x="1810" y="97727"/>
                    </a:cubicBezTo>
                    <a:lnTo>
                      <a:pt x="21336" y="0"/>
                    </a:lnTo>
                    <a:lnTo>
                      <a:pt x="59246" y="0"/>
                    </a:lnTo>
                    <a:lnTo>
                      <a:pt x="40291" y="95345"/>
                    </a:lnTo>
                    <a:cubicBezTo>
                      <a:pt x="39720" y="98679"/>
                      <a:pt x="39053" y="102679"/>
                      <a:pt x="39053" y="105728"/>
                    </a:cubicBezTo>
                    <a:cubicBezTo>
                      <a:pt x="39053" y="119444"/>
                      <a:pt x="48578" y="125635"/>
                      <a:pt x="58008" y="125635"/>
                    </a:cubicBezTo>
                    <a:cubicBezTo>
                      <a:pt x="68675" y="125635"/>
                      <a:pt x="87249" y="120110"/>
                      <a:pt x="92107" y="95060"/>
                    </a:cubicBezTo>
                    <a:lnTo>
                      <a:pt x="110966" y="95"/>
                    </a:lnTo>
                    <a:lnTo>
                      <a:pt x="149066" y="9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8273A19B-D96C-4237-ADB2-60CB4B010E90}"/>
                  </a:ext>
                </a:extLst>
              </p:cNvPr>
              <p:cNvSpPr/>
              <p:nvPr/>
            </p:nvSpPr>
            <p:spPr>
              <a:xfrm>
                <a:off x="8930181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8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8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586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3" y="130588"/>
                      <a:pt x="56198" y="130588"/>
                    </a:cubicBezTo>
                    <a:cubicBezTo>
                      <a:pt x="77914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4624119C-8ACF-460C-A3D0-6EFC1B2027E2}"/>
                  </a:ext>
                </a:extLst>
              </p:cNvPr>
              <p:cNvSpPr/>
              <p:nvPr/>
            </p:nvSpPr>
            <p:spPr>
              <a:xfrm>
                <a:off x="10307919" y="3513172"/>
                <a:ext cx="57455" cy="57455"/>
              </a:xfrm>
              <a:custGeom>
                <a:avLst/>
                <a:gdLst>
                  <a:gd name="connsiteX0" fmla="*/ 23639 w 38100"/>
                  <a:gd name="connsiteY0" fmla="*/ 0 h 38100"/>
                  <a:gd name="connsiteX1" fmla="*/ 17 w 38100"/>
                  <a:gd name="connsiteY1" fmla="*/ 22670 h 38100"/>
                  <a:gd name="connsiteX2" fmla="*/ 21829 w 38100"/>
                  <a:gd name="connsiteY2" fmla="*/ 45339 h 38100"/>
                  <a:gd name="connsiteX3" fmla="*/ 45355 w 38100"/>
                  <a:gd name="connsiteY3" fmla="*/ 22670 h 38100"/>
                  <a:gd name="connsiteX4" fmla="*/ 23639 w 38100"/>
                  <a:gd name="connsiteY4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23639" y="0"/>
                    </a:moveTo>
                    <a:cubicBezTo>
                      <a:pt x="11161" y="0"/>
                      <a:pt x="493" y="10192"/>
                      <a:pt x="17" y="22670"/>
                    </a:cubicBezTo>
                    <a:cubicBezTo>
                      <a:pt x="-460" y="35242"/>
                      <a:pt x="9256" y="45339"/>
                      <a:pt x="21829" y="45339"/>
                    </a:cubicBezTo>
                    <a:cubicBezTo>
                      <a:pt x="34307" y="45339"/>
                      <a:pt x="44879" y="35147"/>
                      <a:pt x="45355" y="22670"/>
                    </a:cubicBezTo>
                    <a:cubicBezTo>
                      <a:pt x="45927" y="10096"/>
                      <a:pt x="36212" y="0"/>
                      <a:pt x="23639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03AA8BAB-8116-4019-8354-63A0AF0129F3}"/>
                  </a:ext>
                </a:extLst>
              </p:cNvPr>
              <p:cNvSpPr/>
              <p:nvPr/>
            </p:nvSpPr>
            <p:spPr>
              <a:xfrm>
                <a:off x="10030007" y="3606249"/>
                <a:ext cx="201091" cy="244182"/>
              </a:xfrm>
              <a:custGeom>
                <a:avLst/>
                <a:gdLst>
                  <a:gd name="connsiteX0" fmla="*/ 78962 w 133350"/>
                  <a:gd name="connsiteY0" fmla="*/ 31242 h 161925"/>
                  <a:gd name="connsiteX1" fmla="*/ 101441 w 133350"/>
                  <a:gd name="connsiteY1" fmla="*/ 57341 h 161925"/>
                  <a:gd name="connsiteX2" fmla="*/ 100679 w 133350"/>
                  <a:gd name="connsiteY2" fmla="*/ 66961 h 161925"/>
                  <a:gd name="connsiteX3" fmla="*/ 42386 w 133350"/>
                  <a:gd name="connsiteY3" fmla="*/ 66961 h 161925"/>
                  <a:gd name="connsiteX4" fmla="*/ 78962 w 133350"/>
                  <a:gd name="connsiteY4" fmla="*/ 31242 h 161925"/>
                  <a:gd name="connsiteX5" fmla="*/ 132493 w 133350"/>
                  <a:gd name="connsiteY5" fmla="*/ 94583 h 161925"/>
                  <a:gd name="connsiteX6" fmla="*/ 137541 w 133350"/>
                  <a:gd name="connsiteY6" fmla="*/ 57341 h 161925"/>
                  <a:gd name="connsiteX7" fmla="*/ 81153 w 133350"/>
                  <a:gd name="connsiteY7" fmla="*/ 0 h 161925"/>
                  <a:gd name="connsiteX8" fmla="*/ 0 w 133350"/>
                  <a:gd name="connsiteY8" fmla="*/ 107442 h 161925"/>
                  <a:gd name="connsiteX9" fmla="*/ 61913 w 133350"/>
                  <a:gd name="connsiteY9" fmla="*/ 163830 h 161925"/>
                  <a:gd name="connsiteX10" fmla="*/ 116205 w 133350"/>
                  <a:gd name="connsiteY10" fmla="*/ 153734 h 161925"/>
                  <a:gd name="connsiteX11" fmla="*/ 123158 w 133350"/>
                  <a:gd name="connsiteY11" fmla="*/ 118967 h 161925"/>
                  <a:gd name="connsiteX12" fmla="*/ 67723 w 133350"/>
                  <a:gd name="connsiteY12" fmla="*/ 131826 h 161925"/>
                  <a:gd name="connsiteX13" fmla="*/ 36005 w 133350"/>
                  <a:gd name="connsiteY13" fmla="*/ 104775 h 161925"/>
                  <a:gd name="connsiteX14" fmla="*/ 37052 w 133350"/>
                  <a:gd name="connsiteY14" fmla="*/ 94583 h 161925"/>
                  <a:gd name="connsiteX15" fmla="*/ 132493 w 133350"/>
                  <a:gd name="connsiteY15" fmla="*/ 94583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3350" h="161925">
                    <a:moveTo>
                      <a:pt x="78962" y="31242"/>
                    </a:moveTo>
                    <a:cubicBezTo>
                      <a:pt x="92678" y="31242"/>
                      <a:pt x="101441" y="40862"/>
                      <a:pt x="101441" y="57341"/>
                    </a:cubicBezTo>
                    <a:cubicBezTo>
                      <a:pt x="101441" y="60389"/>
                      <a:pt x="101155" y="63818"/>
                      <a:pt x="100679" y="66961"/>
                    </a:cubicBezTo>
                    <a:lnTo>
                      <a:pt x="42386" y="66961"/>
                    </a:lnTo>
                    <a:cubicBezTo>
                      <a:pt x="49530" y="42101"/>
                      <a:pt x="62960" y="31242"/>
                      <a:pt x="78962" y="31242"/>
                    </a:cubicBezTo>
                    <a:moveTo>
                      <a:pt x="132493" y="94583"/>
                    </a:moveTo>
                    <a:cubicBezTo>
                      <a:pt x="135255" y="82010"/>
                      <a:pt x="137541" y="68009"/>
                      <a:pt x="137541" y="57341"/>
                    </a:cubicBezTo>
                    <a:cubicBezTo>
                      <a:pt x="137541" y="22765"/>
                      <a:pt x="115062" y="0"/>
                      <a:pt x="81153" y="0"/>
                    </a:cubicBezTo>
                    <a:cubicBezTo>
                      <a:pt x="26384" y="0"/>
                      <a:pt x="0" y="53912"/>
                      <a:pt x="0" y="107442"/>
                    </a:cubicBezTo>
                    <a:cubicBezTo>
                      <a:pt x="0" y="149352"/>
                      <a:pt x="30861" y="163830"/>
                      <a:pt x="61913" y="163830"/>
                    </a:cubicBezTo>
                    <a:cubicBezTo>
                      <a:pt x="85820" y="163830"/>
                      <a:pt x="103441" y="159163"/>
                      <a:pt x="116205" y="153734"/>
                    </a:cubicBezTo>
                    <a:lnTo>
                      <a:pt x="123158" y="118967"/>
                    </a:lnTo>
                    <a:cubicBezTo>
                      <a:pt x="115919" y="122968"/>
                      <a:pt x="97727" y="131826"/>
                      <a:pt x="67723" y="131826"/>
                    </a:cubicBezTo>
                    <a:cubicBezTo>
                      <a:pt x="44387" y="131826"/>
                      <a:pt x="36100" y="120396"/>
                      <a:pt x="36005" y="104775"/>
                    </a:cubicBezTo>
                    <a:cubicBezTo>
                      <a:pt x="36005" y="101156"/>
                      <a:pt x="36481" y="98298"/>
                      <a:pt x="37052" y="94583"/>
                    </a:cubicBezTo>
                    <a:lnTo>
                      <a:pt x="132493" y="945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2DC5D7C5-D748-4B02-A06A-D17137F8E62D}"/>
                  </a:ext>
                </a:extLst>
              </p:cNvPr>
              <p:cNvSpPr/>
              <p:nvPr/>
            </p:nvSpPr>
            <p:spPr>
              <a:xfrm>
                <a:off x="10253506" y="3614579"/>
                <a:ext cx="100546" cy="229819"/>
              </a:xfrm>
              <a:custGeom>
                <a:avLst/>
                <a:gdLst>
                  <a:gd name="connsiteX0" fmla="*/ 68961 w 66675"/>
                  <a:gd name="connsiteY0" fmla="*/ 0 h 152400"/>
                  <a:gd name="connsiteX1" fmla="*/ 37909 w 66675"/>
                  <a:gd name="connsiteY1" fmla="*/ 154400 h 152400"/>
                  <a:gd name="connsiteX2" fmla="*/ 0 w 66675"/>
                  <a:gd name="connsiteY2" fmla="*/ 154400 h 152400"/>
                  <a:gd name="connsiteX3" fmla="*/ 30956 w 66675"/>
                  <a:gd name="connsiteY3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5" h="152400">
                    <a:moveTo>
                      <a:pt x="68961" y="0"/>
                    </a:moveTo>
                    <a:lnTo>
                      <a:pt x="37909" y="154400"/>
                    </a:lnTo>
                    <a:lnTo>
                      <a:pt x="0" y="154400"/>
                    </a:lnTo>
                    <a:lnTo>
                      <a:pt x="3095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748A3434-B7E9-495A-9E83-4673E386A75E}"/>
                  </a:ext>
                </a:extLst>
              </p:cNvPr>
              <p:cNvSpPr/>
              <p:nvPr/>
            </p:nvSpPr>
            <p:spPr>
              <a:xfrm>
                <a:off x="9516362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6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8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7052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7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340 w 133350"/>
                  <a:gd name="connsiteY16" fmla="*/ 162687 h 161925"/>
                  <a:gd name="connsiteX17" fmla="*/ 85820 w 133350"/>
                  <a:gd name="connsiteY17" fmla="*/ 147066 h 161925"/>
                  <a:gd name="connsiteX18" fmla="*/ 83344 w 133350"/>
                  <a:gd name="connsiteY18" fmla="*/ 159544 h 161925"/>
                  <a:gd name="connsiteX19" fmla="*/ 119729 w 133350"/>
                  <a:gd name="connsiteY19" fmla="*/ 159544 h 161925"/>
                  <a:gd name="connsiteX20" fmla="*/ 140018 w 133350"/>
                  <a:gd name="connsiteY20" fmla="*/ 58483 h 161925"/>
                  <a:gd name="connsiteX21" fmla="*/ 141542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964" y="117348"/>
                      <a:pt x="84011" y="122301"/>
                    </a:cubicBezTo>
                    <a:cubicBezTo>
                      <a:pt x="78200" y="128111"/>
                      <a:pt x="69628" y="132112"/>
                      <a:pt x="59246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1" y="88678"/>
                      <a:pt x="65437" y="88678"/>
                    </a:cubicBezTo>
                    <a:lnTo>
                      <a:pt x="96108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7052" y="6001"/>
                    </a:cubicBezTo>
                    <a:lnTo>
                      <a:pt x="30099" y="40291"/>
                    </a:lnTo>
                    <a:cubicBezTo>
                      <a:pt x="39814" y="36195"/>
                      <a:pt x="58103" y="31813"/>
                      <a:pt x="78391" y="31813"/>
                    </a:cubicBezTo>
                    <a:cubicBezTo>
                      <a:pt x="95345" y="31813"/>
                      <a:pt x="103347" y="38195"/>
                      <a:pt x="103347" y="48958"/>
                    </a:cubicBezTo>
                    <a:cubicBezTo>
                      <a:pt x="103347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340" y="162687"/>
                    </a:cubicBezTo>
                    <a:cubicBezTo>
                      <a:pt x="64770" y="162687"/>
                      <a:pt x="76962" y="156020"/>
                      <a:pt x="85820" y="147066"/>
                    </a:cubicBezTo>
                    <a:lnTo>
                      <a:pt x="83344" y="159544"/>
                    </a:lnTo>
                    <a:lnTo>
                      <a:pt x="119729" y="159544"/>
                    </a:lnTo>
                    <a:lnTo>
                      <a:pt x="140018" y="58483"/>
                    </a:lnTo>
                    <a:cubicBezTo>
                      <a:pt x="140875" y="54197"/>
                      <a:pt x="141542" y="48673"/>
                      <a:pt x="141542" y="44387"/>
                    </a:cubicBezTo>
                    <a:cubicBezTo>
                      <a:pt x="141542" y="10478"/>
                      <a:pt x="111729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FDB73217-337A-4217-B6F0-5CA91F4C27FC}"/>
                  </a:ext>
                </a:extLst>
              </p:cNvPr>
              <p:cNvSpPr/>
              <p:nvPr/>
            </p:nvSpPr>
            <p:spPr>
              <a:xfrm>
                <a:off x="8719896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9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9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491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4" y="130588"/>
                      <a:pt x="56198" y="130588"/>
                    </a:cubicBezTo>
                    <a:cubicBezTo>
                      <a:pt x="77915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8558BFC1-8259-41C4-AEFD-62E695324723}"/>
                  </a:ext>
                </a:extLst>
              </p:cNvPr>
              <p:cNvSpPr/>
              <p:nvPr/>
            </p:nvSpPr>
            <p:spPr>
              <a:xfrm>
                <a:off x="9756954" y="3521790"/>
                <a:ext cx="287273" cy="316001"/>
              </a:xfrm>
              <a:custGeom>
                <a:avLst/>
                <a:gdLst>
                  <a:gd name="connsiteX0" fmla="*/ 12859 w 190500"/>
                  <a:gd name="connsiteY0" fmla="*/ 63246 h 209550"/>
                  <a:gd name="connsiteX1" fmla="*/ 30766 w 190500"/>
                  <a:gd name="connsiteY1" fmla="*/ 63246 h 209550"/>
                  <a:gd name="connsiteX2" fmla="*/ 34671 w 190500"/>
                  <a:gd name="connsiteY2" fmla="*/ 43720 h 209550"/>
                  <a:gd name="connsiteX3" fmla="*/ 86583 w 190500"/>
                  <a:gd name="connsiteY3" fmla="*/ 0 h 209550"/>
                  <a:gd name="connsiteX4" fmla="*/ 108776 w 190500"/>
                  <a:gd name="connsiteY4" fmla="*/ 0 h 209550"/>
                  <a:gd name="connsiteX5" fmla="*/ 102394 w 190500"/>
                  <a:gd name="connsiteY5" fmla="*/ 32099 h 209550"/>
                  <a:gd name="connsiteX6" fmla="*/ 89249 w 190500"/>
                  <a:gd name="connsiteY6" fmla="*/ 32099 h 209550"/>
                  <a:gd name="connsiteX7" fmla="*/ 71819 w 190500"/>
                  <a:gd name="connsiteY7" fmla="*/ 47720 h 209550"/>
                  <a:gd name="connsiteX8" fmla="*/ 68675 w 190500"/>
                  <a:gd name="connsiteY8" fmla="*/ 63341 h 209550"/>
                  <a:gd name="connsiteX9" fmla="*/ 120396 w 190500"/>
                  <a:gd name="connsiteY9" fmla="*/ 63341 h 209550"/>
                  <a:gd name="connsiteX10" fmla="*/ 124301 w 190500"/>
                  <a:gd name="connsiteY10" fmla="*/ 43815 h 209550"/>
                  <a:gd name="connsiteX11" fmla="*/ 176213 w 190500"/>
                  <a:gd name="connsiteY11" fmla="*/ 95 h 209550"/>
                  <a:gd name="connsiteX12" fmla="*/ 198406 w 190500"/>
                  <a:gd name="connsiteY12" fmla="*/ 95 h 209550"/>
                  <a:gd name="connsiteX13" fmla="*/ 191929 w 190500"/>
                  <a:gd name="connsiteY13" fmla="*/ 32194 h 209550"/>
                  <a:gd name="connsiteX14" fmla="*/ 178880 w 190500"/>
                  <a:gd name="connsiteY14" fmla="*/ 32194 h 209550"/>
                  <a:gd name="connsiteX15" fmla="*/ 161449 w 190500"/>
                  <a:gd name="connsiteY15" fmla="*/ 47815 h 209550"/>
                  <a:gd name="connsiteX16" fmla="*/ 158305 w 190500"/>
                  <a:gd name="connsiteY16" fmla="*/ 63437 h 209550"/>
                  <a:gd name="connsiteX17" fmla="*/ 186404 w 190500"/>
                  <a:gd name="connsiteY17" fmla="*/ 63437 h 209550"/>
                  <a:gd name="connsiteX18" fmla="*/ 180594 w 190500"/>
                  <a:gd name="connsiteY18" fmla="*/ 92488 h 209550"/>
                  <a:gd name="connsiteX19" fmla="*/ 152495 w 190500"/>
                  <a:gd name="connsiteY19" fmla="*/ 92488 h 209550"/>
                  <a:gd name="connsiteX20" fmla="*/ 127635 w 190500"/>
                  <a:gd name="connsiteY20" fmla="*/ 216217 h 209550"/>
                  <a:gd name="connsiteX21" fmla="*/ 89726 w 190500"/>
                  <a:gd name="connsiteY21" fmla="*/ 216217 h 209550"/>
                  <a:gd name="connsiteX22" fmla="*/ 114491 w 190500"/>
                  <a:gd name="connsiteY22" fmla="*/ 92488 h 209550"/>
                  <a:gd name="connsiteX23" fmla="*/ 62770 w 190500"/>
                  <a:gd name="connsiteY23" fmla="*/ 92488 h 209550"/>
                  <a:gd name="connsiteX24" fmla="*/ 37910 w 190500"/>
                  <a:gd name="connsiteY24" fmla="*/ 216217 h 209550"/>
                  <a:gd name="connsiteX25" fmla="*/ 0 w 190500"/>
                  <a:gd name="connsiteY25" fmla="*/ 216217 h 209550"/>
                  <a:gd name="connsiteX26" fmla="*/ 24861 w 190500"/>
                  <a:gd name="connsiteY26" fmla="*/ 92488 h 209550"/>
                  <a:gd name="connsiteX27" fmla="*/ 6954 w 190500"/>
                  <a:gd name="connsiteY27" fmla="*/ 92488 h 209550"/>
                  <a:gd name="connsiteX28" fmla="*/ 12859 w 190500"/>
                  <a:gd name="connsiteY28" fmla="*/ 63246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90500" h="209550">
                    <a:moveTo>
                      <a:pt x="12859" y="63246"/>
                    </a:moveTo>
                    <a:lnTo>
                      <a:pt x="30766" y="63246"/>
                    </a:lnTo>
                    <a:lnTo>
                      <a:pt x="34671" y="43720"/>
                    </a:lnTo>
                    <a:cubicBezTo>
                      <a:pt x="40291" y="15907"/>
                      <a:pt x="57245" y="0"/>
                      <a:pt x="86583" y="0"/>
                    </a:cubicBezTo>
                    <a:lnTo>
                      <a:pt x="108776" y="0"/>
                    </a:lnTo>
                    <a:lnTo>
                      <a:pt x="102394" y="32099"/>
                    </a:lnTo>
                    <a:lnTo>
                      <a:pt x="89249" y="32099"/>
                    </a:lnTo>
                    <a:cubicBezTo>
                      <a:pt x="80106" y="32099"/>
                      <a:pt x="74009" y="36957"/>
                      <a:pt x="71819" y="47720"/>
                    </a:cubicBezTo>
                    <a:lnTo>
                      <a:pt x="68675" y="63341"/>
                    </a:lnTo>
                    <a:lnTo>
                      <a:pt x="120396" y="63341"/>
                    </a:lnTo>
                    <a:lnTo>
                      <a:pt x="124301" y="43815"/>
                    </a:lnTo>
                    <a:cubicBezTo>
                      <a:pt x="129826" y="16002"/>
                      <a:pt x="146876" y="95"/>
                      <a:pt x="176213" y="95"/>
                    </a:cubicBezTo>
                    <a:lnTo>
                      <a:pt x="198406" y="95"/>
                    </a:lnTo>
                    <a:lnTo>
                      <a:pt x="191929" y="32194"/>
                    </a:lnTo>
                    <a:lnTo>
                      <a:pt x="178880" y="32194"/>
                    </a:lnTo>
                    <a:cubicBezTo>
                      <a:pt x="169736" y="32194"/>
                      <a:pt x="163545" y="37052"/>
                      <a:pt x="161449" y="47815"/>
                    </a:cubicBezTo>
                    <a:lnTo>
                      <a:pt x="158305" y="63437"/>
                    </a:lnTo>
                    <a:lnTo>
                      <a:pt x="186404" y="63437"/>
                    </a:lnTo>
                    <a:lnTo>
                      <a:pt x="180594" y="92488"/>
                    </a:lnTo>
                    <a:lnTo>
                      <a:pt x="152495" y="92488"/>
                    </a:lnTo>
                    <a:lnTo>
                      <a:pt x="127635" y="216217"/>
                    </a:lnTo>
                    <a:lnTo>
                      <a:pt x="89726" y="216217"/>
                    </a:lnTo>
                    <a:lnTo>
                      <a:pt x="114491" y="92488"/>
                    </a:lnTo>
                    <a:lnTo>
                      <a:pt x="62770" y="92488"/>
                    </a:lnTo>
                    <a:lnTo>
                      <a:pt x="37910" y="216217"/>
                    </a:lnTo>
                    <a:lnTo>
                      <a:pt x="0" y="216217"/>
                    </a:lnTo>
                    <a:lnTo>
                      <a:pt x="24861" y="92488"/>
                    </a:lnTo>
                    <a:lnTo>
                      <a:pt x="6954" y="92488"/>
                    </a:lnTo>
                    <a:lnTo>
                      <a:pt x="12859" y="632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A9B1DB12-7C73-4925-94A0-F02B45C977C6}"/>
                  </a:ext>
                </a:extLst>
              </p:cNvPr>
              <p:cNvSpPr/>
              <p:nvPr/>
            </p:nvSpPr>
            <p:spPr>
              <a:xfrm>
                <a:off x="8239433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5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7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6957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6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244 w 133350"/>
                  <a:gd name="connsiteY16" fmla="*/ 162687 h 161925"/>
                  <a:gd name="connsiteX17" fmla="*/ 85725 w 133350"/>
                  <a:gd name="connsiteY17" fmla="*/ 147066 h 161925"/>
                  <a:gd name="connsiteX18" fmla="*/ 83248 w 133350"/>
                  <a:gd name="connsiteY18" fmla="*/ 159544 h 161925"/>
                  <a:gd name="connsiteX19" fmla="*/ 119634 w 133350"/>
                  <a:gd name="connsiteY19" fmla="*/ 159544 h 161925"/>
                  <a:gd name="connsiteX20" fmla="*/ 139922 w 133350"/>
                  <a:gd name="connsiteY20" fmla="*/ 58483 h 161925"/>
                  <a:gd name="connsiteX21" fmla="*/ 141446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868" y="117348"/>
                      <a:pt x="84011" y="122301"/>
                    </a:cubicBezTo>
                    <a:cubicBezTo>
                      <a:pt x="78200" y="128111"/>
                      <a:pt x="69628" y="132112"/>
                      <a:pt x="59245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0" y="88678"/>
                      <a:pt x="65437" y="88678"/>
                    </a:cubicBezTo>
                    <a:lnTo>
                      <a:pt x="96107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6957" y="6001"/>
                    </a:cubicBezTo>
                    <a:lnTo>
                      <a:pt x="30099" y="40291"/>
                    </a:lnTo>
                    <a:cubicBezTo>
                      <a:pt x="39814" y="36195"/>
                      <a:pt x="58102" y="31813"/>
                      <a:pt x="78391" y="31813"/>
                    </a:cubicBezTo>
                    <a:cubicBezTo>
                      <a:pt x="95345" y="31813"/>
                      <a:pt x="103346" y="38195"/>
                      <a:pt x="103346" y="48958"/>
                    </a:cubicBezTo>
                    <a:cubicBezTo>
                      <a:pt x="103346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244" y="162687"/>
                    </a:cubicBezTo>
                    <a:cubicBezTo>
                      <a:pt x="64675" y="162687"/>
                      <a:pt x="76867" y="156020"/>
                      <a:pt x="85725" y="147066"/>
                    </a:cubicBezTo>
                    <a:lnTo>
                      <a:pt x="83248" y="159544"/>
                    </a:lnTo>
                    <a:lnTo>
                      <a:pt x="119634" y="159544"/>
                    </a:lnTo>
                    <a:lnTo>
                      <a:pt x="139922" y="58483"/>
                    </a:lnTo>
                    <a:cubicBezTo>
                      <a:pt x="140779" y="54197"/>
                      <a:pt x="141446" y="48673"/>
                      <a:pt x="141446" y="44387"/>
                    </a:cubicBezTo>
                    <a:cubicBezTo>
                      <a:pt x="141541" y="10478"/>
                      <a:pt x="111728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58652280-36DB-4465-8C08-2C4C1B5D583E}"/>
                  </a:ext>
                </a:extLst>
              </p:cNvPr>
              <p:cNvSpPr/>
              <p:nvPr/>
            </p:nvSpPr>
            <p:spPr>
              <a:xfrm>
                <a:off x="7825183" y="3521790"/>
                <a:ext cx="301637" cy="316001"/>
              </a:xfrm>
              <a:custGeom>
                <a:avLst/>
                <a:gdLst>
                  <a:gd name="connsiteX0" fmla="*/ 65341 w 200025"/>
                  <a:gd name="connsiteY0" fmla="*/ 92012 h 209550"/>
                  <a:gd name="connsiteX1" fmla="*/ 154210 w 200025"/>
                  <a:gd name="connsiteY1" fmla="*/ 0 h 209550"/>
                  <a:gd name="connsiteX2" fmla="*/ 205835 w 200025"/>
                  <a:gd name="connsiteY2" fmla="*/ 0 h 209550"/>
                  <a:gd name="connsiteX3" fmla="*/ 118300 w 200025"/>
                  <a:gd name="connsiteY3" fmla="*/ 86296 h 209550"/>
                  <a:gd name="connsiteX4" fmla="*/ 167450 w 200025"/>
                  <a:gd name="connsiteY4" fmla="*/ 215932 h 209550"/>
                  <a:gd name="connsiteX5" fmla="*/ 121920 w 200025"/>
                  <a:gd name="connsiteY5" fmla="*/ 215932 h 209550"/>
                  <a:gd name="connsiteX6" fmla="*/ 87344 w 200025"/>
                  <a:gd name="connsiteY6" fmla="*/ 116681 h 209550"/>
                  <a:gd name="connsiteX7" fmla="*/ 53816 w 200025"/>
                  <a:gd name="connsiteY7" fmla="*/ 149828 h 209550"/>
                  <a:gd name="connsiteX8" fmla="*/ 40481 w 200025"/>
                  <a:gd name="connsiteY8" fmla="*/ 215932 h 209550"/>
                  <a:gd name="connsiteX9" fmla="*/ 0 w 200025"/>
                  <a:gd name="connsiteY9" fmla="*/ 215932 h 209550"/>
                  <a:gd name="connsiteX10" fmla="*/ 43434 w 200025"/>
                  <a:gd name="connsiteY10" fmla="*/ 0 h 209550"/>
                  <a:gd name="connsiteX11" fmla="*/ 83820 w 200025"/>
                  <a:gd name="connsiteY1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09550">
                    <a:moveTo>
                      <a:pt x="65341" y="92012"/>
                    </a:moveTo>
                    <a:lnTo>
                      <a:pt x="154210" y="0"/>
                    </a:lnTo>
                    <a:lnTo>
                      <a:pt x="205835" y="0"/>
                    </a:lnTo>
                    <a:lnTo>
                      <a:pt x="118300" y="86296"/>
                    </a:lnTo>
                    <a:lnTo>
                      <a:pt x="167450" y="215932"/>
                    </a:lnTo>
                    <a:lnTo>
                      <a:pt x="121920" y="215932"/>
                    </a:lnTo>
                    <a:lnTo>
                      <a:pt x="87344" y="116681"/>
                    </a:lnTo>
                    <a:lnTo>
                      <a:pt x="53816" y="149828"/>
                    </a:lnTo>
                    <a:lnTo>
                      <a:pt x="40481" y="215932"/>
                    </a:lnTo>
                    <a:lnTo>
                      <a:pt x="0" y="215932"/>
                    </a:lnTo>
                    <a:lnTo>
                      <a:pt x="43434" y="0"/>
                    </a:lnTo>
                    <a:lnTo>
                      <a:pt x="8382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2262AFF8-B07B-4DB7-98BA-FF85EA3D65DF}"/>
                  </a:ext>
                </a:extLst>
              </p:cNvPr>
              <p:cNvSpPr/>
              <p:nvPr/>
            </p:nvSpPr>
            <p:spPr>
              <a:xfrm>
                <a:off x="9182119" y="3521790"/>
                <a:ext cx="344728" cy="316001"/>
              </a:xfrm>
              <a:custGeom>
                <a:avLst/>
                <a:gdLst>
                  <a:gd name="connsiteX0" fmla="*/ 43434 w 228600"/>
                  <a:gd name="connsiteY0" fmla="*/ 0 h 209550"/>
                  <a:gd name="connsiteX1" fmla="*/ 80581 w 228600"/>
                  <a:gd name="connsiteY1" fmla="*/ 0 h 209550"/>
                  <a:gd name="connsiteX2" fmla="*/ 111442 w 228600"/>
                  <a:gd name="connsiteY2" fmla="*/ 116110 h 209550"/>
                  <a:gd name="connsiteX3" fmla="*/ 190214 w 228600"/>
                  <a:gd name="connsiteY3" fmla="*/ 0 h 209550"/>
                  <a:gd name="connsiteX4" fmla="*/ 228885 w 228600"/>
                  <a:gd name="connsiteY4" fmla="*/ 0 h 209550"/>
                  <a:gd name="connsiteX5" fmla="*/ 185547 w 228600"/>
                  <a:gd name="connsiteY5" fmla="*/ 216027 h 209550"/>
                  <a:gd name="connsiteX6" fmla="*/ 146018 w 228600"/>
                  <a:gd name="connsiteY6" fmla="*/ 216027 h 209550"/>
                  <a:gd name="connsiteX7" fmla="*/ 171450 w 228600"/>
                  <a:gd name="connsiteY7" fmla="*/ 89154 h 209550"/>
                  <a:gd name="connsiteX8" fmla="*/ 116967 w 228600"/>
                  <a:gd name="connsiteY8" fmla="*/ 169259 h 209550"/>
                  <a:gd name="connsiteX9" fmla="*/ 89725 w 228600"/>
                  <a:gd name="connsiteY9" fmla="*/ 169259 h 209550"/>
                  <a:gd name="connsiteX10" fmla="*/ 65246 w 228600"/>
                  <a:gd name="connsiteY10" fmla="*/ 88297 h 209550"/>
                  <a:gd name="connsiteX11" fmla="*/ 39624 w 228600"/>
                  <a:gd name="connsiteY11" fmla="*/ 216027 h 209550"/>
                  <a:gd name="connsiteX12" fmla="*/ 0 w 228600"/>
                  <a:gd name="connsiteY12" fmla="*/ 216027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209550">
                    <a:moveTo>
                      <a:pt x="43434" y="0"/>
                    </a:moveTo>
                    <a:lnTo>
                      <a:pt x="80581" y="0"/>
                    </a:lnTo>
                    <a:lnTo>
                      <a:pt x="111442" y="116110"/>
                    </a:lnTo>
                    <a:lnTo>
                      <a:pt x="190214" y="0"/>
                    </a:lnTo>
                    <a:lnTo>
                      <a:pt x="228885" y="0"/>
                    </a:lnTo>
                    <a:lnTo>
                      <a:pt x="185547" y="216027"/>
                    </a:lnTo>
                    <a:lnTo>
                      <a:pt x="146018" y="216027"/>
                    </a:lnTo>
                    <a:lnTo>
                      <a:pt x="171450" y="89154"/>
                    </a:lnTo>
                    <a:lnTo>
                      <a:pt x="116967" y="169259"/>
                    </a:lnTo>
                    <a:lnTo>
                      <a:pt x="89725" y="169259"/>
                    </a:lnTo>
                    <a:lnTo>
                      <a:pt x="65246" y="88297"/>
                    </a:lnTo>
                    <a:lnTo>
                      <a:pt x="39624" y="216027"/>
                    </a:lnTo>
                    <a:lnTo>
                      <a:pt x="0" y="21602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44" name="Textplatzhalter 43">
            <a:extLst>
              <a:ext uri="{FF2B5EF4-FFF2-40B4-BE49-F238E27FC236}">
                <a16:creationId xmlns:a16="http://schemas.microsoft.com/office/drawing/2014/main" id="{CA8A5E94-61B5-4E08-A512-C3CC40EB19C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3069551"/>
            <a:ext cx="5366658" cy="430887"/>
          </a:xfrm>
        </p:spPr>
        <p:txBody>
          <a:bodyPr wrap="square" anchor="b">
            <a:spAutoFit/>
          </a:bodyPr>
          <a:lstStyle>
            <a:lvl1pPr algn="l">
              <a:defRPr sz="2800" i="1">
                <a:solidFill>
                  <a:schemeClr val="accent6"/>
                </a:solidFill>
              </a:defRPr>
            </a:lvl1pPr>
            <a:lvl2pPr>
              <a:defRPr sz="1200" i="1">
                <a:solidFill>
                  <a:schemeClr val="accent6"/>
                </a:solidFill>
              </a:defRPr>
            </a:lvl2pPr>
            <a:lvl3pPr>
              <a:defRPr sz="1200" i="1">
                <a:solidFill>
                  <a:schemeClr val="accent6"/>
                </a:solidFill>
              </a:defRPr>
            </a:lvl3pPr>
            <a:lvl4pPr>
              <a:defRPr sz="1200" i="1">
                <a:solidFill>
                  <a:schemeClr val="accent6"/>
                </a:solidFill>
              </a:defRPr>
            </a:lvl4pPr>
            <a:lvl5pPr>
              <a:defRPr sz="120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Thank you for your attention!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E85403A-3D25-4EAE-84FA-C80CD60445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3888" y="3716338"/>
            <a:ext cx="5364162" cy="276999"/>
          </a:xfrm>
        </p:spPr>
        <p:txBody>
          <a:bodyPr>
            <a:sp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First name Sure name</a:t>
            </a:r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C1B3EF9E-9B1C-4F00-9759-E77D03FB0AB6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24" name="Linientext 05,60">
              <a:extLst>
                <a:ext uri="{FF2B5EF4-FFF2-40B4-BE49-F238E27FC236}">
                  <a16:creationId xmlns:a16="http://schemas.microsoft.com/office/drawing/2014/main" id="{58012A56-DDE8-4D52-8DAF-ECA6F33988EC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5" name="Hilfslinie 12,10">
              <a:extLst>
                <a:ext uri="{FF2B5EF4-FFF2-40B4-BE49-F238E27FC236}">
                  <a16:creationId xmlns:a16="http://schemas.microsoft.com/office/drawing/2014/main" id="{0DFDD9C2-49E3-4C34-8A5A-78961C3A217A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Linientext 12,10">
              <a:extLst>
                <a:ext uri="{FF2B5EF4-FFF2-40B4-BE49-F238E27FC236}">
                  <a16:creationId xmlns:a16="http://schemas.microsoft.com/office/drawing/2014/main" id="{94D5251F-12FD-4BF7-BAB1-81B81ECC00DA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43" name="Linientext 13,95">
              <a:extLst>
                <a:ext uri="{FF2B5EF4-FFF2-40B4-BE49-F238E27FC236}">
                  <a16:creationId xmlns:a16="http://schemas.microsoft.com/office/drawing/2014/main" id="{72C60B7F-7817-4A49-94F3-EC732C0F7D45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45" name="Hilfslinie 13,95">
              <a:extLst>
                <a:ext uri="{FF2B5EF4-FFF2-40B4-BE49-F238E27FC236}">
                  <a16:creationId xmlns:a16="http://schemas.microsoft.com/office/drawing/2014/main" id="{2ADEE5AB-B056-4B95-9550-1BCC3C81C02D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Hilfslinie 12,10">
              <a:extLst>
                <a:ext uri="{FF2B5EF4-FFF2-40B4-BE49-F238E27FC236}">
                  <a16:creationId xmlns:a16="http://schemas.microsoft.com/office/drawing/2014/main" id="{69990FBF-C622-4973-840F-5A08650CCEEC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Linientext 12,10">
              <a:extLst>
                <a:ext uri="{FF2B5EF4-FFF2-40B4-BE49-F238E27FC236}">
                  <a16:creationId xmlns:a16="http://schemas.microsoft.com/office/drawing/2014/main" id="{5B773497-EC61-4E9D-AA1E-AA91D061E7E9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48" name="Linientext 13,95">
              <a:extLst>
                <a:ext uri="{FF2B5EF4-FFF2-40B4-BE49-F238E27FC236}">
                  <a16:creationId xmlns:a16="http://schemas.microsoft.com/office/drawing/2014/main" id="{CAA6E53D-2498-4BDE-AB0F-15E690FE420F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49" name="Hilfslinie 13,95">
              <a:extLst>
                <a:ext uri="{FF2B5EF4-FFF2-40B4-BE49-F238E27FC236}">
                  <a16:creationId xmlns:a16="http://schemas.microsoft.com/office/drawing/2014/main" id="{184C8E74-9E14-4DB0-AA36-0806AE436206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Linientext 05,60">
              <a:extLst>
                <a:ext uri="{FF2B5EF4-FFF2-40B4-BE49-F238E27FC236}">
                  <a16:creationId xmlns:a16="http://schemas.microsoft.com/office/drawing/2014/main" id="{E8F2F7FD-3D1A-4DDC-A1E2-388DB66E41A7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1" name="Linientext 05,60">
              <a:extLst>
                <a:ext uri="{FF2B5EF4-FFF2-40B4-BE49-F238E27FC236}">
                  <a16:creationId xmlns:a16="http://schemas.microsoft.com/office/drawing/2014/main" id="{A4392155-D6A1-42DA-A16D-21FBDAA68B51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2" name="Linientext 05,60">
              <a:extLst>
                <a:ext uri="{FF2B5EF4-FFF2-40B4-BE49-F238E27FC236}">
                  <a16:creationId xmlns:a16="http://schemas.microsoft.com/office/drawing/2014/main" id="{260304A3-331D-49A7-A94D-4926DDF25CAA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3" name="Linientext 05,60">
              <a:extLst>
                <a:ext uri="{FF2B5EF4-FFF2-40B4-BE49-F238E27FC236}">
                  <a16:creationId xmlns:a16="http://schemas.microsoft.com/office/drawing/2014/main" id="{0A1A61FB-C847-4D8F-9195-AF762F67D40D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4" name="Hilfslinie 05,60">
              <a:extLst>
                <a:ext uri="{FF2B5EF4-FFF2-40B4-BE49-F238E27FC236}">
                  <a16:creationId xmlns:a16="http://schemas.microsoft.com/office/drawing/2014/main" id="{0A6F6109-96DD-4BD4-88E8-13AD9FD5DD20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Hilfslinie 05,60">
              <a:extLst>
                <a:ext uri="{FF2B5EF4-FFF2-40B4-BE49-F238E27FC236}">
                  <a16:creationId xmlns:a16="http://schemas.microsoft.com/office/drawing/2014/main" id="{939CED2F-4B77-4E0B-A4B3-4C56A495F37A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Hilfslinie 05,60">
              <a:extLst>
                <a:ext uri="{FF2B5EF4-FFF2-40B4-BE49-F238E27FC236}">
                  <a16:creationId xmlns:a16="http://schemas.microsoft.com/office/drawing/2014/main" id="{74BDA0E6-6065-4629-9886-DC7BE2C200E0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Hilfslinie 05,60">
              <a:extLst>
                <a:ext uri="{FF2B5EF4-FFF2-40B4-BE49-F238E27FC236}">
                  <a16:creationId xmlns:a16="http://schemas.microsoft.com/office/drawing/2014/main" id="{BFD05FB4-206A-4490-9F17-39B9806532D8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Hilfslinie 05,60">
              <a:extLst>
                <a:ext uri="{FF2B5EF4-FFF2-40B4-BE49-F238E27FC236}">
                  <a16:creationId xmlns:a16="http://schemas.microsoft.com/office/drawing/2014/main" id="{18353F44-3304-4FA7-AFAB-EC10607C694E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Linientext 05,60">
              <a:extLst>
                <a:ext uri="{FF2B5EF4-FFF2-40B4-BE49-F238E27FC236}">
                  <a16:creationId xmlns:a16="http://schemas.microsoft.com/office/drawing/2014/main" id="{8F95C096-5430-43FE-9F88-A26BBCA940A1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0" name="Hilfslinie 05,60">
              <a:extLst>
                <a:ext uri="{FF2B5EF4-FFF2-40B4-BE49-F238E27FC236}">
                  <a16:creationId xmlns:a16="http://schemas.microsoft.com/office/drawing/2014/main" id="{20E01DAF-567D-48E0-A96E-91756D738896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393248F-5F75-444D-BFB1-FB64FF7D50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4156513"/>
            <a:ext cx="5364162" cy="1446550"/>
          </a:xfrm>
        </p:spPr>
        <p:txBody>
          <a:bodyPr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err="1"/>
              <a:t>KraussMaffei</a:t>
            </a:r>
            <a:r>
              <a:rPr lang="en-US" dirty="0"/>
              <a:t> Technologies GmbH</a:t>
            </a:r>
          </a:p>
          <a:p>
            <a:pPr lvl="0"/>
            <a:r>
              <a:rPr lang="en-US" dirty="0"/>
              <a:t>Krauss-Maffei-</a:t>
            </a:r>
            <a:r>
              <a:rPr lang="en-US" dirty="0" err="1"/>
              <a:t>Straße</a:t>
            </a:r>
            <a:r>
              <a:rPr lang="en-US" dirty="0"/>
              <a:t> 2</a:t>
            </a:r>
            <a:br>
              <a:rPr lang="en-US" dirty="0"/>
            </a:br>
            <a:r>
              <a:rPr lang="en-US" dirty="0"/>
              <a:t>80997 München</a:t>
            </a:r>
          </a:p>
          <a:p>
            <a:pPr lvl="0"/>
            <a:r>
              <a:rPr lang="en-US" dirty="0"/>
              <a:t>Tel.: +49 (0)89 88 99 0</a:t>
            </a:r>
            <a:br>
              <a:rPr lang="en-US" dirty="0"/>
            </a:br>
            <a:r>
              <a:rPr lang="en-US" dirty="0"/>
              <a:t>Fax: +49 (0)89 88 99 22 06</a:t>
            </a:r>
          </a:p>
          <a:p>
            <a:pPr lvl="0"/>
            <a:r>
              <a:rPr lang="en-US" dirty="0"/>
              <a:t>Email: info@krausmaffei.com</a:t>
            </a:r>
          </a:p>
        </p:txBody>
      </p:sp>
      <p:sp>
        <p:nvSpPr>
          <p:cNvPr id="62" name="Regieanweisung // Allgemein">
            <a:extLst>
              <a:ext uri="{FF2B5EF4-FFF2-40B4-BE49-F238E27FC236}">
                <a16:creationId xmlns:a16="http://schemas.microsoft.com/office/drawing/2014/main" id="{31355ED1-3395-4299-9B05-0E4F1B3F7879}"/>
              </a:ext>
            </a:extLst>
          </p:cNvPr>
          <p:cNvSpPr txBox="1"/>
          <p:nvPr userDrawn="1"/>
        </p:nvSpPr>
        <p:spPr>
          <a:xfrm rot="10800000" flipH="1" flipV="1">
            <a:off x="12345888" y="3580614"/>
            <a:ext cx="1570138" cy="2299842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 vert="horz" wrap="square" lIns="72000" tIns="72000" rIns="72000" bIns="72000" rtlCol="0" anchor="b" anchorCtr="0">
            <a:sp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To insert gridlines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View // Show //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check gridlines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Bring back slide 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to original shape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Slide // Rese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Change Indent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Paragraph //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Left or Right Inden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Change slide layou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Slides // Layout</a:t>
            </a:r>
          </a:p>
        </p:txBody>
      </p:sp>
    </p:spTree>
    <p:extLst>
      <p:ext uri="{BB962C8B-B14F-4D97-AF65-F5344CB8AC3E}">
        <p14:creationId xmlns:p14="http://schemas.microsoft.com/office/powerpoint/2010/main" val="93478993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ázov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9253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9705D2-1CDF-430E-B4B0-74AA47C869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k-SK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k-SK" dirty="0"/>
              <a:t>Titulok, </a:t>
            </a:r>
            <a:r>
              <a:rPr lang="sk-SK" dirty="0" err="1"/>
              <a:t>Arial</a:t>
            </a:r>
            <a:r>
              <a:rPr lang="sk-SK" dirty="0"/>
              <a:t>, 22 b, jeden riadok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sk-SK" dirty="0"/>
              <a:t>Podtitulok, </a:t>
            </a:r>
            <a:r>
              <a:rPr lang="sk-SK" dirty="0" err="1"/>
              <a:t>Arial</a:t>
            </a:r>
            <a:r>
              <a:rPr lang="sk-SK" dirty="0"/>
              <a:t>, 17 b, jeden riadok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10944222" cy="43195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sk-SK" dirty="0"/>
              <a:t>Kliknite sem na úpravu formátu predlohy, </a:t>
            </a:r>
            <a:r>
              <a:rPr lang="sk-SK" dirty="0" err="1"/>
              <a:t>Arial</a:t>
            </a:r>
            <a:r>
              <a:rPr lang="sk-SK" dirty="0"/>
              <a:t>, 16 b, riadkovanie 1 b, rozstupy 4 b</a:t>
            </a:r>
          </a:p>
          <a:p>
            <a:pPr lvl="1"/>
            <a:r>
              <a:rPr lang="sk-SK" dirty="0"/>
              <a:t>Druhá úroveň</a:t>
            </a:r>
          </a:p>
          <a:p>
            <a:pPr lvl="2"/>
            <a:r>
              <a:rPr lang="sk-SK" dirty="0"/>
              <a:t>Tretia úroveň</a:t>
            </a:r>
          </a:p>
          <a:p>
            <a:pPr lvl="3"/>
            <a:r>
              <a:rPr lang="sk-SK" dirty="0"/>
              <a:t>Štvrtá úroveň</a:t>
            </a:r>
          </a:p>
          <a:p>
            <a:pPr lvl="4"/>
            <a:r>
              <a:rPr lang="sk-SK" dirty="0"/>
              <a:t>Piata úroveň</a:t>
            </a:r>
          </a:p>
          <a:p>
            <a:pPr lvl="4"/>
            <a:endParaRPr lang="sk-SK" dirty="0"/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971329DF-C967-4D1B-B3C1-1DC722947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sk-SK" smtClean="0"/>
              <a:pPr/>
              <a:t>‹#›</a:t>
            </a:fld>
            <a:endParaRPr lang="sk-SK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729B6BA-6627-4C8C-8AD9-A13743D859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6076236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r>
              <a:rPr lang="sk-SK" dirty="0"/>
              <a:t>Zdroj: </a:t>
            </a:r>
            <a:r>
              <a:rPr lang="sk-SK" dirty="0" err="1"/>
              <a:t>Arial</a:t>
            </a:r>
            <a:r>
              <a:rPr lang="sk-SK" dirty="0"/>
              <a:t>, 8 b</a:t>
            </a:r>
          </a:p>
        </p:txBody>
      </p:sp>
    </p:spTree>
    <p:extLst>
      <p:ext uri="{BB962C8B-B14F-4D97-AF65-F5344CB8AC3E}">
        <p14:creationId xmlns:p14="http://schemas.microsoft.com/office/powerpoint/2010/main" val="37177440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A1B0686-7F3E-4282-8088-A02D7E626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3384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A1B0686-7F3E-4282-8088-A02D7E626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528D81-E54E-4B06-9D3A-CC1C83CD28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1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B0DE7897-EA3B-4C10-A455-54127A84A1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0000" t="25129" r="7606" b="21481"/>
          <a:stretch/>
        </p:blipFill>
        <p:spPr>
          <a:xfrm>
            <a:off x="-1" y="1"/>
            <a:ext cx="12197273" cy="685799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B5A4979-EAA9-204F-8D1D-26260CD06C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268" y="2776943"/>
            <a:ext cx="7233096" cy="1218795"/>
          </a:xfrm>
        </p:spPr>
        <p:txBody>
          <a:bodyPr lIns="0" tIns="0" rIns="0" bIns="0" anchor="b"/>
          <a:lstStyle>
            <a:lvl1pPr algn="l">
              <a:defRPr sz="4400" b="1" i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err="1"/>
              <a:t>TitLE</a:t>
            </a:r>
            <a:r>
              <a:rPr lang="en-US" dirty="0"/>
              <a:t>, Arial, </a:t>
            </a:r>
            <a:br>
              <a:rPr lang="en-US" dirty="0"/>
            </a:br>
            <a:r>
              <a:rPr lang="en-US" dirty="0"/>
              <a:t>44 </a:t>
            </a:r>
            <a:r>
              <a:rPr lang="en-US" dirty="0" err="1"/>
              <a:t>pt</a:t>
            </a:r>
            <a:r>
              <a:rPr lang="en-US" dirty="0"/>
              <a:t>, BOLD, italic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9A28CC2-AB54-8049-AA13-7EF80A6E2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6268" y="4557886"/>
            <a:ext cx="7233096" cy="307777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of the presentation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22FC953-9B25-4A37-9BD5-6367FCB96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4958477"/>
            <a:ext cx="7232650" cy="246221"/>
          </a:xfrm>
        </p:spPr>
        <p:txBody>
          <a:bodyPr anchor="t"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 | Date, Arial, 16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DE7DC057-1B1C-449E-A6BB-8D3D613AD12E}"/>
              </a:ext>
            </a:extLst>
          </p:cNvPr>
          <p:cNvGrpSpPr/>
          <p:nvPr userDrawn="1"/>
        </p:nvGrpSpPr>
        <p:grpSpPr>
          <a:xfrm>
            <a:off x="9531700" y="1511612"/>
            <a:ext cx="2326900" cy="611726"/>
            <a:chOff x="9237264" y="1690722"/>
            <a:chExt cx="2576929" cy="677457"/>
          </a:xfrm>
        </p:grpSpPr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4D735CAB-8CE1-4495-A63C-C1649FE54764}"/>
                </a:ext>
              </a:extLst>
            </p:cNvPr>
            <p:cNvSpPr/>
            <p:nvPr/>
          </p:nvSpPr>
          <p:spPr>
            <a:xfrm>
              <a:off x="10167480" y="2197076"/>
              <a:ext cx="1543732" cy="171103"/>
            </a:xfrm>
            <a:custGeom>
              <a:avLst/>
              <a:gdLst>
                <a:gd name="connsiteX0" fmla="*/ 3869817 w 3867150"/>
                <a:gd name="connsiteY0" fmla="*/ 118300 h 428625"/>
                <a:gd name="connsiteX1" fmla="*/ 3787617 w 3867150"/>
                <a:gd name="connsiteY1" fmla="*/ 87916 h 428625"/>
                <a:gd name="connsiteX2" fmla="*/ 3705416 w 3867150"/>
                <a:gd name="connsiteY2" fmla="*/ 116396 h 428625"/>
                <a:gd name="connsiteX3" fmla="*/ 3680270 w 3867150"/>
                <a:gd name="connsiteY3" fmla="*/ 178213 h 428625"/>
                <a:gd name="connsiteX4" fmla="*/ 3739610 w 3867150"/>
                <a:gd name="connsiteY4" fmla="*/ 234315 h 428625"/>
                <a:gd name="connsiteX5" fmla="*/ 3771995 w 3867150"/>
                <a:gd name="connsiteY5" fmla="*/ 239554 h 428625"/>
                <a:gd name="connsiteX6" fmla="*/ 3795332 w 3867150"/>
                <a:gd name="connsiteY6" fmla="*/ 260032 h 428625"/>
                <a:gd name="connsiteX7" fmla="*/ 3744944 w 3867150"/>
                <a:gd name="connsiteY7" fmla="*/ 290894 h 428625"/>
                <a:gd name="connsiteX8" fmla="*/ 3687985 w 3867150"/>
                <a:gd name="connsiteY8" fmla="*/ 267081 h 428625"/>
                <a:gd name="connsiteX9" fmla="*/ 3645694 w 3867150"/>
                <a:gd name="connsiteY9" fmla="*/ 304133 h 428625"/>
                <a:gd name="connsiteX10" fmla="*/ 3741135 w 3867150"/>
                <a:gd name="connsiteY10" fmla="*/ 341186 h 428625"/>
                <a:gd name="connsiteX11" fmla="*/ 3827145 w 3867150"/>
                <a:gd name="connsiteY11" fmla="*/ 314134 h 428625"/>
                <a:gd name="connsiteX12" fmla="*/ 3853720 w 3867150"/>
                <a:gd name="connsiteY12" fmla="*/ 254222 h 428625"/>
                <a:gd name="connsiteX13" fmla="*/ 3793903 w 3867150"/>
                <a:gd name="connsiteY13" fmla="*/ 190024 h 428625"/>
                <a:gd name="connsiteX14" fmla="*/ 3761994 w 3867150"/>
                <a:gd name="connsiteY14" fmla="*/ 184785 h 428625"/>
                <a:gd name="connsiteX15" fmla="*/ 3739134 w 3867150"/>
                <a:gd name="connsiteY15" fmla="*/ 166211 h 428625"/>
                <a:gd name="connsiteX16" fmla="*/ 3782377 w 3867150"/>
                <a:gd name="connsiteY16" fmla="*/ 136303 h 428625"/>
                <a:gd name="connsiteX17" fmla="*/ 3829431 w 3867150"/>
                <a:gd name="connsiteY17" fmla="*/ 153924 h 428625"/>
                <a:gd name="connsiteX18" fmla="*/ 3869817 w 3867150"/>
                <a:gd name="connsiteY18" fmla="*/ 118300 h 428625"/>
                <a:gd name="connsiteX19" fmla="*/ 3661220 w 3867150"/>
                <a:gd name="connsiteY19" fmla="*/ 122111 h 428625"/>
                <a:gd name="connsiteX20" fmla="*/ 3588544 w 3867150"/>
                <a:gd name="connsiteY20" fmla="*/ 87916 h 428625"/>
                <a:gd name="connsiteX21" fmla="*/ 3462623 w 3867150"/>
                <a:gd name="connsiteY21" fmla="*/ 214313 h 428625"/>
                <a:gd name="connsiteX22" fmla="*/ 3458813 w 3867150"/>
                <a:gd name="connsiteY22" fmla="*/ 252794 h 428625"/>
                <a:gd name="connsiteX23" fmla="*/ 3547586 w 3867150"/>
                <a:gd name="connsiteY23" fmla="*/ 341186 h 428625"/>
                <a:gd name="connsiteX24" fmla="*/ 3629311 w 3867150"/>
                <a:gd name="connsiteY24" fmla="*/ 309848 h 428625"/>
                <a:gd name="connsiteX25" fmla="*/ 3596545 w 3867150"/>
                <a:gd name="connsiteY25" fmla="*/ 267557 h 428625"/>
                <a:gd name="connsiteX26" fmla="*/ 3553301 w 3867150"/>
                <a:gd name="connsiteY26" fmla="*/ 288512 h 428625"/>
                <a:gd name="connsiteX27" fmla="*/ 3518154 w 3867150"/>
                <a:gd name="connsiteY27" fmla="*/ 246221 h 428625"/>
                <a:gd name="connsiteX28" fmla="*/ 3521488 w 3867150"/>
                <a:gd name="connsiteY28" fmla="*/ 214313 h 428625"/>
                <a:gd name="connsiteX29" fmla="*/ 3547586 w 3867150"/>
                <a:gd name="connsiteY29" fmla="*/ 156305 h 428625"/>
                <a:gd name="connsiteX30" fmla="*/ 3582734 w 3867150"/>
                <a:gd name="connsiteY30" fmla="*/ 140589 h 428625"/>
                <a:gd name="connsiteX31" fmla="*/ 3616928 w 3867150"/>
                <a:gd name="connsiteY31" fmla="*/ 161068 h 428625"/>
                <a:gd name="connsiteX32" fmla="*/ 3661220 w 3867150"/>
                <a:gd name="connsiteY32" fmla="*/ 122111 h 428625"/>
                <a:gd name="connsiteX33" fmla="*/ 3456813 w 3867150"/>
                <a:gd name="connsiteY33" fmla="*/ 953 h 428625"/>
                <a:gd name="connsiteX34" fmla="*/ 3395948 w 3867150"/>
                <a:gd name="connsiteY34" fmla="*/ 953 h 428625"/>
                <a:gd name="connsiteX35" fmla="*/ 3386423 w 3867150"/>
                <a:gd name="connsiteY35" fmla="*/ 49816 h 428625"/>
                <a:gd name="connsiteX36" fmla="*/ 3446812 w 3867150"/>
                <a:gd name="connsiteY36" fmla="*/ 49816 h 428625"/>
                <a:gd name="connsiteX37" fmla="*/ 3456813 w 3867150"/>
                <a:gd name="connsiteY37" fmla="*/ 953 h 428625"/>
                <a:gd name="connsiteX38" fmla="*/ 3436906 w 3867150"/>
                <a:gd name="connsiteY38" fmla="*/ 98393 h 428625"/>
                <a:gd name="connsiteX39" fmla="*/ 3377946 w 3867150"/>
                <a:gd name="connsiteY39" fmla="*/ 98393 h 428625"/>
                <a:gd name="connsiteX40" fmla="*/ 3329940 w 3867150"/>
                <a:gd name="connsiteY40" fmla="*/ 338423 h 428625"/>
                <a:gd name="connsiteX41" fmla="*/ 3388900 w 3867150"/>
                <a:gd name="connsiteY41" fmla="*/ 338423 h 428625"/>
                <a:gd name="connsiteX42" fmla="*/ 3436906 w 3867150"/>
                <a:gd name="connsiteY42" fmla="*/ 98393 h 428625"/>
                <a:gd name="connsiteX43" fmla="*/ 3328035 w 3867150"/>
                <a:gd name="connsiteY43" fmla="*/ 98393 h 428625"/>
                <a:gd name="connsiteX44" fmla="*/ 3287173 w 3867150"/>
                <a:gd name="connsiteY44" fmla="*/ 98393 h 428625"/>
                <a:gd name="connsiteX45" fmla="*/ 3301937 w 3867150"/>
                <a:gd name="connsiteY45" fmla="*/ 24289 h 428625"/>
                <a:gd name="connsiteX46" fmla="*/ 3242977 w 3867150"/>
                <a:gd name="connsiteY46" fmla="*/ 24289 h 428625"/>
                <a:gd name="connsiteX47" fmla="*/ 3228213 w 3867150"/>
                <a:gd name="connsiteY47" fmla="*/ 98393 h 428625"/>
                <a:gd name="connsiteX48" fmla="*/ 3203067 w 3867150"/>
                <a:gd name="connsiteY48" fmla="*/ 98393 h 428625"/>
                <a:gd name="connsiteX49" fmla="*/ 3194019 w 3867150"/>
                <a:gd name="connsiteY49" fmla="*/ 142970 h 428625"/>
                <a:gd name="connsiteX50" fmla="*/ 3219164 w 3867150"/>
                <a:gd name="connsiteY50" fmla="*/ 142970 h 428625"/>
                <a:gd name="connsiteX51" fmla="*/ 3194971 w 3867150"/>
                <a:gd name="connsiteY51" fmla="*/ 264223 h 428625"/>
                <a:gd name="connsiteX52" fmla="*/ 3193066 w 3867150"/>
                <a:gd name="connsiteY52" fmla="*/ 284702 h 428625"/>
                <a:gd name="connsiteX53" fmla="*/ 3252883 w 3867150"/>
                <a:gd name="connsiteY53" fmla="*/ 338328 h 428625"/>
                <a:gd name="connsiteX54" fmla="*/ 3283268 w 3867150"/>
                <a:gd name="connsiteY54" fmla="*/ 338328 h 428625"/>
                <a:gd name="connsiteX55" fmla="*/ 3293269 w 3867150"/>
                <a:gd name="connsiteY55" fmla="*/ 288988 h 428625"/>
                <a:gd name="connsiteX56" fmla="*/ 3271933 w 3867150"/>
                <a:gd name="connsiteY56" fmla="*/ 288988 h 428625"/>
                <a:gd name="connsiteX57" fmla="*/ 3252883 w 3867150"/>
                <a:gd name="connsiteY57" fmla="*/ 273748 h 428625"/>
                <a:gd name="connsiteX58" fmla="*/ 3253836 w 3867150"/>
                <a:gd name="connsiteY58" fmla="*/ 264700 h 428625"/>
                <a:gd name="connsiteX59" fmla="*/ 3278029 w 3867150"/>
                <a:gd name="connsiteY59" fmla="*/ 142970 h 428625"/>
                <a:gd name="connsiteX60" fmla="*/ 3318891 w 3867150"/>
                <a:gd name="connsiteY60" fmla="*/ 142970 h 428625"/>
                <a:gd name="connsiteX61" fmla="*/ 3328035 w 3867150"/>
                <a:gd name="connsiteY61" fmla="*/ 98393 h 428625"/>
                <a:gd name="connsiteX62" fmla="*/ 3163062 w 3867150"/>
                <a:gd name="connsiteY62" fmla="*/ 118300 h 428625"/>
                <a:gd name="connsiteX63" fmla="*/ 3080861 w 3867150"/>
                <a:gd name="connsiteY63" fmla="*/ 87916 h 428625"/>
                <a:gd name="connsiteX64" fmla="*/ 2998565 w 3867150"/>
                <a:gd name="connsiteY64" fmla="*/ 116396 h 428625"/>
                <a:gd name="connsiteX65" fmla="*/ 2973420 w 3867150"/>
                <a:gd name="connsiteY65" fmla="*/ 178213 h 428625"/>
                <a:gd name="connsiteX66" fmla="*/ 3032760 w 3867150"/>
                <a:gd name="connsiteY66" fmla="*/ 234315 h 428625"/>
                <a:gd name="connsiteX67" fmla="*/ 3065145 w 3867150"/>
                <a:gd name="connsiteY67" fmla="*/ 239554 h 428625"/>
                <a:gd name="connsiteX68" fmla="*/ 3088481 w 3867150"/>
                <a:gd name="connsiteY68" fmla="*/ 260032 h 428625"/>
                <a:gd name="connsiteX69" fmla="*/ 3037999 w 3867150"/>
                <a:gd name="connsiteY69" fmla="*/ 290894 h 428625"/>
                <a:gd name="connsiteX70" fmla="*/ 2981039 w 3867150"/>
                <a:gd name="connsiteY70" fmla="*/ 267081 h 428625"/>
                <a:gd name="connsiteX71" fmla="*/ 2938748 w 3867150"/>
                <a:gd name="connsiteY71" fmla="*/ 304133 h 428625"/>
                <a:gd name="connsiteX72" fmla="*/ 3034189 w 3867150"/>
                <a:gd name="connsiteY72" fmla="*/ 341186 h 428625"/>
                <a:gd name="connsiteX73" fmla="*/ 3120295 w 3867150"/>
                <a:gd name="connsiteY73" fmla="*/ 314134 h 428625"/>
                <a:gd name="connsiteX74" fmla="*/ 3146870 w 3867150"/>
                <a:gd name="connsiteY74" fmla="*/ 254222 h 428625"/>
                <a:gd name="connsiteX75" fmla="*/ 3087053 w 3867150"/>
                <a:gd name="connsiteY75" fmla="*/ 190024 h 428625"/>
                <a:gd name="connsiteX76" fmla="*/ 3055144 w 3867150"/>
                <a:gd name="connsiteY76" fmla="*/ 184785 h 428625"/>
                <a:gd name="connsiteX77" fmla="*/ 3032284 w 3867150"/>
                <a:gd name="connsiteY77" fmla="*/ 166211 h 428625"/>
                <a:gd name="connsiteX78" fmla="*/ 3075623 w 3867150"/>
                <a:gd name="connsiteY78" fmla="*/ 136303 h 428625"/>
                <a:gd name="connsiteX79" fmla="*/ 3122676 w 3867150"/>
                <a:gd name="connsiteY79" fmla="*/ 153924 h 428625"/>
                <a:gd name="connsiteX80" fmla="*/ 3163062 w 3867150"/>
                <a:gd name="connsiteY80" fmla="*/ 118300 h 428625"/>
                <a:gd name="connsiteX81" fmla="*/ 2858453 w 3867150"/>
                <a:gd name="connsiteY81" fmla="*/ 231934 h 428625"/>
                <a:gd name="connsiteX82" fmla="*/ 2855595 w 3867150"/>
                <a:gd name="connsiteY82" fmla="*/ 246697 h 428625"/>
                <a:gd name="connsiteX83" fmla="*/ 2840831 w 3867150"/>
                <a:gd name="connsiteY83" fmla="*/ 278035 h 428625"/>
                <a:gd name="connsiteX84" fmla="*/ 2802350 w 3867150"/>
                <a:gd name="connsiteY84" fmla="*/ 293275 h 428625"/>
                <a:gd name="connsiteX85" fmla="*/ 2770918 w 3867150"/>
                <a:gd name="connsiteY85" fmla="*/ 269938 h 428625"/>
                <a:gd name="connsiteX86" fmla="*/ 2813209 w 3867150"/>
                <a:gd name="connsiteY86" fmla="*/ 231838 h 428625"/>
                <a:gd name="connsiteX87" fmla="*/ 2858453 w 3867150"/>
                <a:gd name="connsiteY87" fmla="*/ 231838 h 428625"/>
                <a:gd name="connsiteX88" fmla="*/ 2930652 w 3867150"/>
                <a:gd name="connsiteY88" fmla="*/ 156877 h 428625"/>
                <a:gd name="connsiteX89" fmla="*/ 2842736 w 3867150"/>
                <a:gd name="connsiteY89" fmla="*/ 88011 h 428625"/>
                <a:gd name="connsiteX90" fmla="*/ 2751011 w 3867150"/>
                <a:gd name="connsiteY90" fmla="*/ 121253 h 428625"/>
                <a:gd name="connsiteX91" fmla="*/ 2781395 w 3867150"/>
                <a:gd name="connsiteY91" fmla="*/ 160687 h 428625"/>
                <a:gd name="connsiteX92" fmla="*/ 2834640 w 3867150"/>
                <a:gd name="connsiteY92" fmla="*/ 137350 h 428625"/>
                <a:gd name="connsiteX93" fmla="*/ 2871311 w 3867150"/>
                <a:gd name="connsiteY93" fmla="*/ 164021 h 428625"/>
                <a:gd name="connsiteX94" fmla="*/ 2869883 w 3867150"/>
                <a:gd name="connsiteY94" fmla="*/ 176879 h 428625"/>
                <a:gd name="connsiteX95" fmla="*/ 2866549 w 3867150"/>
                <a:gd name="connsiteY95" fmla="*/ 191643 h 428625"/>
                <a:gd name="connsiteX96" fmla="*/ 2807589 w 3867150"/>
                <a:gd name="connsiteY96" fmla="*/ 191643 h 428625"/>
                <a:gd name="connsiteX97" fmla="*/ 2735390 w 3867150"/>
                <a:gd name="connsiteY97" fmla="*/ 217265 h 428625"/>
                <a:gd name="connsiteX98" fmla="*/ 2713101 w 3867150"/>
                <a:gd name="connsiteY98" fmla="*/ 275749 h 428625"/>
                <a:gd name="connsiteX99" fmla="*/ 2783872 w 3867150"/>
                <a:gd name="connsiteY99" fmla="*/ 340805 h 428625"/>
                <a:gd name="connsiteX100" fmla="*/ 2843784 w 3867150"/>
                <a:gd name="connsiteY100" fmla="*/ 316611 h 428625"/>
                <a:gd name="connsiteX101" fmla="*/ 2839498 w 3867150"/>
                <a:gd name="connsiteY101" fmla="*/ 338423 h 428625"/>
                <a:gd name="connsiteX102" fmla="*/ 2896076 w 3867150"/>
                <a:gd name="connsiteY102" fmla="*/ 338423 h 428625"/>
                <a:gd name="connsiteX103" fmla="*/ 2928366 w 3867150"/>
                <a:gd name="connsiteY103" fmla="*/ 178784 h 428625"/>
                <a:gd name="connsiteX104" fmla="*/ 2930652 w 3867150"/>
                <a:gd name="connsiteY104" fmla="*/ 156877 h 428625"/>
                <a:gd name="connsiteX105" fmla="*/ 2697766 w 3867150"/>
                <a:gd name="connsiteY105" fmla="*/ 0 h 428625"/>
                <a:gd name="connsiteX106" fmla="*/ 2638806 w 3867150"/>
                <a:gd name="connsiteY106" fmla="*/ 0 h 428625"/>
                <a:gd name="connsiteX107" fmla="*/ 2586133 w 3867150"/>
                <a:gd name="connsiteY107" fmla="*/ 264223 h 428625"/>
                <a:gd name="connsiteX108" fmla="*/ 2584228 w 3867150"/>
                <a:gd name="connsiteY108" fmla="*/ 284702 h 428625"/>
                <a:gd name="connsiteX109" fmla="*/ 2643569 w 3867150"/>
                <a:gd name="connsiteY109" fmla="*/ 338328 h 428625"/>
                <a:gd name="connsiteX110" fmla="*/ 2675858 w 3867150"/>
                <a:gd name="connsiteY110" fmla="*/ 338328 h 428625"/>
                <a:gd name="connsiteX111" fmla="*/ 2685860 w 3867150"/>
                <a:gd name="connsiteY111" fmla="*/ 288512 h 428625"/>
                <a:gd name="connsiteX112" fmla="*/ 2661666 w 3867150"/>
                <a:gd name="connsiteY112" fmla="*/ 288512 h 428625"/>
                <a:gd name="connsiteX113" fmla="*/ 2643569 w 3867150"/>
                <a:gd name="connsiteY113" fmla="*/ 274225 h 428625"/>
                <a:gd name="connsiteX114" fmla="*/ 2644997 w 3867150"/>
                <a:gd name="connsiteY114" fmla="*/ 263747 h 428625"/>
                <a:gd name="connsiteX115" fmla="*/ 2697766 w 3867150"/>
                <a:gd name="connsiteY115" fmla="*/ 0 h 428625"/>
                <a:gd name="connsiteX116" fmla="*/ 2514791 w 3867150"/>
                <a:gd name="connsiteY116" fmla="*/ 94583 h 428625"/>
                <a:gd name="connsiteX117" fmla="*/ 2455355 w 3867150"/>
                <a:gd name="connsiteY117" fmla="*/ 151638 h 428625"/>
                <a:gd name="connsiteX118" fmla="*/ 2399253 w 3867150"/>
                <a:gd name="connsiteY118" fmla="*/ 151638 h 428625"/>
                <a:gd name="connsiteX119" fmla="*/ 2418779 w 3867150"/>
                <a:gd name="connsiteY119" fmla="*/ 55531 h 428625"/>
                <a:gd name="connsiteX120" fmla="*/ 2476786 w 3867150"/>
                <a:gd name="connsiteY120" fmla="*/ 55531 h 428625"/>
                <a:gd name="connsiteX121" fmla="*/ 2514791 w 3867150"/>
                <a:gd name="connsiteY121" fmla="*/ 94583 h 428625"/>
                <a:gd name="connsiteX122" fmla="*/ 2578037 w 3867150"/>
                <a:gd name="connsiteY122" fmla="*/ 89345 h 428625"/>
                <a:gd name="connsiteX123" fmla="*/ 2487359 w 3867150"/>
                <a:gd name="connsiteY123" fmla="*/ 0 h 428625"/>
                <a:gd name="connsiteX124" fmla="*/ 2367058 w 3867150"/>
                <a:gd name="connsiteY124" fmla="*/ 0 h 428625"/>
                <a:gd name="connsiteX125" fmla="*/ 2299049 w 3867150"/>
                <a:gd name="connsiteY125" fmla="*/ 338328 h 428625"/>
                <a:gd name="connsiteX126" fmla="*/ 2361819 w 3867150"/>
                <a:gd name="connsiteY126" fmla="*/ 338328 h 428625"/>
                <a:gd name="connsiteX127" fmla="*/ 2387918 w 3867150"/>
                <a:gd name="connsiteY127" fmla="*/ 207169 h 428625"/>
                <a:gd name="connsiteX128" fmla="*/ 2453069 w 3867150"/>
                <a:gd name="connsiteY128" fmla="*/ 207169 h 428625"/>
                <a:gd name="connsiteX129" fmla="*/ 2578037 w 3867150"/>
                <a:gd name="connsiteY129" fmla="*/ 89345 h 428625"/>
                <a:gd name="connsiteX130" fmla="*/ 2105501 w 3867150"/>
                <a:gd name="connsiteY130" fmla="*/ 173546 h 428625"/>
                <a:gd name="connsiteX131" fmla="*/ 2101215 w 3867150"/>
                <a:gd name="connsiteY131" fmla="*/ 207740 h 428625"/>
                <a:gd name="connsiteX132" fmla="*/ 2048923 w 3867150"/>
                <a:gd name="connsiteY132" fmla="*/ 275272 h 428625"/>
                <a:gd name="connsiteX133" fmla="*/ 2019490 w 3867150"/>
                <a:gd name="connsiteY133" fmla="*/ 242506 h 428625"/>
                <a:gd name="connsiteX134" fmla="*/ 2023777 w 3867150"/>
                <a:gd name="connsiteY134" fmla="*/ 208312 h 428625"/>
                <a:gd name="connsiteX135" fmla="*/ 2076069 w 3867150"/>
                <a:gd name="connsiteY135" fmla="*/ 140779 h 428625"/>
                <a:gd name="connsiteX136" fmla="*/ 2105501 w 3867150"/>
                <a:gd name="connsiteY136" fmla="*/ 173546 h 428625"/>
                <a:gd name="connsiteX137" fmla="*/ 2105501 w 3867150"/>
                <a:gd name="connsiteY137" fmla="*/ 173546 h 428625"/>
                <a:gd name="connsiteX138" fmla="*/ 2183035 w 3867150"/>
                <a:gd name="connsiteY138" fmla="*/ 90773 h 428625"/>
                <a:gd name="connsiteX139" fmla="*/ 2125980 w 3867150"/>
                <a:gd name="connsiteY139" fmla="*/ 90773 h 428625"/>
                <a:gd name="connsiteX140" fmla="*/ 2121218 w 3867150"/>
                <a:gd name="connsiteY140" fmla="*/ 115919 h 428625"/>
                <a:gd name="connsiteX141" fmla="*/ 2065115 w 3867150"/>
                <a:gd name="connsiteY141" fmla="*/ 87821 h 428625"/>
                <a:gd name="connsiteX142" fmla="*/ 2001964 w 3867150"/>
                <a:gd name="connsiteY142" fmla="*/ 112490 h 428625"/>
                <a:gd name="connsiteX143" fmla="*/ 1964912 w 3867150"/>
                <a:gd name="connsiteY143" fmla="*/ 207550 h 428625"/>
                <a:gd name="connsiteX144" fmla="*/ 1958721 w 3867150"/>
                <a:gd name="connsiteY144" fmla="*/ 257937 h 428625"/>
                <a:gd name="connsiteX145" fmla="*/ 2027111 w 3867150"/>
                <a:gd name="connsiteY145" fmla="*/ 327755 h 428625"/>
                <a:gd name="connsiteX146" fmla="*/ 2082260 w 3867150"/>
                <a:gd name="connsiteY146" fmla="*/ 303086 h 428625"/>
                <a:gd name="connsiteX147" fmla="*/ 2077022 w 3867150"/>
                <a:gd name="connsiteY147" fmla="*/ 328231 h 428625"/>
                <a:gd name="connsiteX148" fmla="*/ 2016633 w 3867150"/>
                <a:gd name="connsiteY148" fmla="*/ 381953 h 428625"/>
                <a:gd name="connsiteX149" fmla="*/ 1975295 w 3867150"/>
                <a:gd name="connsiteY149" fmla="*/ 362426 h 428625"/>
                <a:gd name="connsiteX150" fmla="*/ 1934432 w 3867150"/>
                <a:gd name="connsiteY150" fmla="*/ 398050 h 428625"/>
                <a:gd name="connsiteX151" fmla="*/ 2016633 w 3867150"/>
                <a:gd name="connsiteY151" fmla="*/ 431768 h 428625"/>
                <a:gd name="connsiteX152" fmla="*/ 2135505 w 3867150"/>
                <a:gd name="connsiteY152" fmla="*/ 328613 h 428625"/>
                <a:gd name="connsiteX153" fmla="*/ 2183035 w 3867150"/>
                <a:gd name="connsiteY153" fmla="*/ 90773 h 428625"/>
                <a:gd name="connsiteX154" fmla="*/ 1924431 w 3867150"/>
                <a:gd name="connsiteY154" fmla="*/ 156305 h 428625"/>
                <a:gd name="connsiteX155" fmla="*/ 1861280 w 3867150"/>
                <a:gd name="connsiteY155" fmla="*/ 87916 h 428625"/>
                <a:gd name="connsiteX156" fmla="*/ 1796129 w 3867150"/>
                <a:gd name="connsiteY156" fmla="*/ 114490 h 428625"/>
                <a:gd name="connsiteX157" fmla="*/ 1800415 w 3867150"/>
                <a:gd name="connsiteY157" fmla="*/ 90773 h 428625"/>
                <a:gd name="connsiteX158" fmla="*/ 1743837 w 3867150"/>
                <a:gd name="connsiteY158" fmla="*/ 90773 h 428625"/>
                <a:gd name="connsiteX159" fmla="*/ 1694402 w 3867150"/>
                <a:gd name="connsiteY159" fmla="*/ 338328 h 428625"/>
                <a:gd name="connsiteX160" fmla="*/ 1753362 w 3867150"/>
                <a:gd name="connsiteY160" fmla="*/ 338328 h 428625"/>
                <a:gd name="connsiteX161" fmla="*/ 1783747 w 3867150"/>
                <a:gd name="connsiteY161" fmla="*/ 188119 h 428625"/>
                <a:gd name="connsiteX162" fmla="*/ 1834134 w 3867150"/>
                <a:gd name="connsiteY162" fmla="*/ 140589 h 428625"/>
                <a:gd name="connsiteX163" fmla="*/ 1863566 w 3867150"/>
                <a:gd name="connsiteY163" fmla="*/ 171450 h 428625"/>
                <a:gd name="connsiteX164" fmla="*/ 1861661 w 3867150"/>
                <a:gd name="connsiteY164" fmla="*/ 187642 h 428625"/>
                <a:gd name="connsiteX165" fmla="*/ 1831277 w 3867150"/>
                <a:gd name="connsiteY165" fmla="*/ 338328 h 428625"/>
                <a:gd name="connsiteX166" fmla="*/ 1890141 w 3867150"/>
                <a:gd name="connsiteY166" fmla="*/ 338328 h 428625"/>
                <a:gd name="connsiteX167" fmla="*/ 1921002 w 3867150"/>
                <a:gd name="connsiteY167" fmla="*/ 183832 h 428625"/>
                <a:gd name="connsiteX168" fmla="*/ 1924431 w 3867150"/>
                <a:gd name="connsiteY168" fmla="*/ 156305 h 428625"/>
                <a:gd name="connsiteX169" fmla="*/ 1702022 w 3867150"/>
                <a:gd name="connsiteY169" fmla="*/ 953 h 428625"/>
                <a:gd name="connsiteX170" fmla="*/ 1641157 w 3867150"/>
                <a:gd name="connsiteY170" fmla="*/ 953 h 428625"/>
                <a:gd name="connsiteX171" fmla="*/ 1631632 w 3867150"/>
                <a:gd name="connsiteY171" fmla="*/ 49816 h 428625"/>
                <a:gd name="connsiteX172" fmla="*/ 1692021 w 3867150"/>
                <a:gd name="connsiteY172" fmla="*/ 49816 h 428625"/>
                <a:gd name="connsiteX173" fmla="*/ 1702022 w 3867150"/>
                <a:gd name="connsiteY173" fmla="*/ 953 h 428625"/>
                <a:gd name="connsiteX174" fmla="*/ 1682115 w 3867150"/>
                <a:gd name="connsiteY174" fmla="*/ 98393 h 428625"/>
                <a:gd name="connsiteX175" fmla="*/ 1623155 w 3867150"/>
                <a:gd name="connsiteY175" fmla="*/ 98393 h 428625"/>
                <a:gd name="connsiteX176" fmla="*/ 1575149 w 3867150"/>
                <a:gd name="connsiteY176" fmla="*/ 338423 h 428625"/>
                <a:gd name="connsiteX177" fmla="*/ 1634109 w 3867150"/>
                <a:gd name="connsiteY177" fmla="*/ 338423 h 428625"/>
                <a:gd name="connsiteX178" fmla="*/ 1682115 w 3867150"/>
                <a:gd name="connsiteY178" fmla="*/ 98393 h 428625"/>
                <a:gd name="connsiteX179" fmla="*/ 1592199 w 3867150"/>
                <a:gd name="connsiteY179" fmla="*/ 111252 h 428625"/>
                <a:gd name="connsiteX180" fmla="*/ 1539431 w 3867150"/>
                <a:gd name="connsiteY180" fmla="*/ 88011 h 428625"/>
                <a:gd name="connsiteX181" fmla="*/ 1476661 w 3867150"/>
                <a:gd name="connsiteY181" fmla="*/ 115062 h 428625"/>
                <a:gd name="connsiteX182" fmla="*/ 1481900 w 3867150"/>
                <a:gd name="connsiteY182" fmla="*/ 90869 h 428625"/>
                <a:gd name="connsiteX183" fmla="*/ 1424845 w 3867150"/>
                <a:gd name="connsiteY183" fmla="*/ 90869 h 428625"/>
                <a:gd name="connsiteX184" fmla="*/ 1375410 w 3867150"/>
                <a:gd name="connsiteY184" fmla="*/ 338423 h 428625"/>
                <a:gd name="connsiteX185" fmla="*/ 1434370 w 3867150"/>
                <a:gd name="connsiteY185" fmla="*/ 338423 h 428625"/>
                <a:gd name="connsiteX186" fmla="*/ 1464278 w 3867150"/>
                <a:gd name="connsiteY186" fmla="*/ 188690 h 428625"/>
                <a:gd name="connsiteX187" fmla="*/ 1514189 w 3867150"/>
                <a:gd name="connsiteY187" fmla="*/ 141161 h 428625"/>
                <a:gd name="connsiteX188" fmla="*/ 1541240 w 3867150"/>
                <a:gd name="connsiteY188" fmla="*/ 156400 h 428625"/>
                <a:gd name="connsiteX189" fmla="*/ 1592199 w 3867150"/>
                <a:gd name="connsiteY189" fmla="*/ 111252 h 428625"/>
                <a:gd name="connsiteX190" fmla="*/ 1298067 w 3867150"/>
                <a:gd name="connsiteY190" fmla="*/ 176308 h 428625"/>
                <a:gd name="connsiteX191" fmla="*/ 1296638 w 3867150"/>
                <a:gd name="connsiteY191" fmla="*/ 192977 h 428625"/>
                <a:gd name="connsiteX192" fmla="*/ 1205770 w 3867150"/>
                <a:gd name="connsiteY192" fmla="*/ 192977 h 428625"/>
                <a:gd name="connsiteX193" fmla="*/ 1262825 w 3867150"/>
                <a:gd name="connsiteY193" fmla="*/ 136303 h 428625"/>
                <a:gd name="connsiteX194" fmla="*/ 1298067 w 3867150"/>
                <a:gd name="connsiteY194" fmla="*/ 176308 h 428625"/>
                <a:gd name="connsiteX195" fmla="*/ 1354074 w 3867150"/>
                <a:gd name="connsiteY195" fmla="*/ 176308 h 428625"/>
                <a:gd name="connsiteX196" fmla="*/ 1266158 w 3867150"/>
                <a:gd name="connsiteY196" fmla="*/ 87916 h 428625"/>
                <a:gd name="connsiteX197" fmla="*/ 1140238 w 3867150"/>
                <a:gd name="connsiteY197" fmla="*/ 254222 h 428625"/>
                <a:gd name="connsiteX198" fmla="*/ 1231964 w 3867150"/>
                <a:gd name="connsiteY198" fmla="*/ 341186 h 428625"/>
                <a:gd name="connsiteX199" fmla="*/ 1328452 w 3867150"/>
                <a:gd name="connsiteY199" fmla="*/ 305086 h 428625"/>
                <a:gd name="connsiteX200" fmla="*/ 1297591 w 3867150"/>
                <a:gd name="connsiteY200" fmla="*/ 266129 h 428625"/>
                <a:gd name="connsiteX201" fmla="*/ 1238631 w 3867150"/>
                <a:gd name="connsiteY201" fmla="*/ 291370 h 428625"/>
                <a:gd name="connsiteX202" fmla="*/ 1196340 w 3867150"/>
                <a:gd name="connsiteY202" fmla="*/ 249936 h 428625"/>
                <a:gd name="connsiteX203" fmla="*/ 1198245 w 3867150"/>
                <a:gd name="connsiteY203" fmla="*/ 232315 h 428625"/>
                <a:gd name="connsiteX204" fmla="*/ 1346549 w 3867150"/>
                <a:gd name="connsiteY204" fmla="*/ 232315 h 428625"/>
                <a:gd name="connsiteX205" fmla="*/ 1354074 w 3867150"/>
                <a:gd name="connsiteY205" fmla="*/ 176308 h 428625"/>
                <a:gd name="connsiteX206" fmla="*/ 1054227 w 3867150"/>
                <a:gd name="connsiteY206" fmla="*/ 176308 h 428625"/>
                <a:gd name="connsiteX207" fmla="*/ 1052798 w 3867150"/>
                <a:gd name="connsiteY207" fmla="*/ 192977 h 428625"/>
                <a:gd name="connsiteX208" fmla="*/ 961930 w 3867150"/>
                <a:gd name="connsiteY208" fmla="*/ 192977 h 428625"/>
                <a:gd name="connsiteX209" fmla="*/ 1018984 w 3867150"/>
                <a:gd name="connsiteY209" fmla="*/ 136303 h 428625"/>
                <a:gd name="connsiteX210" fmla="*/ 1054227 w 3867150"/>
                <a:gd name="connsiteY210" fmla="*/ 176308 h 428625"/>
                <a:gd name="connsiteX211" fmla="*/ 1110234 w 3867150"/>
                <a:gd name="connsiteY211" fmla="*/ 176308 h 428625"/>
                <a:gd name="connsiteX212" fmla="*/ 1022318 w 3867150"/>
                <a:gd name="connsiteY212" fmla="*/ 87916 h 428625"/>
                <a:gd name="connsiteX213" fmla="*/ 896398 w 3867150"/>
                <a:gd name="connsiteY213" fmla="*/ 254222 h 428625"/>
                <a:gd name="connsiteX214" fmla="*/ 988124 w 3867150"/>
                <a:gd name="connsiteY214" fmla="*/ 341186 h 428625"/>
                <a:gd name="connsiteX215" fmla="*/ 1084612 w 3867150"/>
                <a:gd name="connsiteY215" fmla="*/ 305086 h 428625"/>
                <a:gd name="connsiteX216" fmla="*/ 1053751 w 3867150"/>
                <a:gd name="connsiteY216" fmla="*/ 266129 h 428625"/>
                <a:gd name="connsiteX217" fmla="*/ 994791 w 3867150"/>
                <a:gd name="connsiteY217" fmla="*/ 291370 h 428625"/>
                <a:gd name="connsiteX218" fmla="*/ 952500 w 3867150"/>
                <a:gd name="connsiteY218" fmla="*/ 249936 h 428625"/>
                <a:gd name="connsiteX219" fmla="*/ 954405 w 3867150"/>
                <a:gd name="connsiteY219" fmla="*/ 232315 h 428625"/>
                <a:gd name="connsiteX220" fmla="*/ 1102709 w 3867150"/>
                <a:gd name="connsiteY220" fmla="*/ 232315 h 428625"/>
                <a:gd name="connsiteX221" fmla="*/ 1110234 w 3867150"/>
                <a:gd name="connsiteY221" fmla="*/ 176308 h 428625"/>
                <a:gd name="connsiteX222" fmla="*/ 863537 w 3867150"/>
                <a:gd name="connsiteY222" fmla="*/ 156305 h 428625"/>
                <a:gd name="connsiteX223" fmla="*/ 800386 w 3867150"/>
                <a:gd name="connsiteY223" fmla="*/ 87916 h 428625"/>
                <a:gd name="connsiteX224" fmla="*/ 735235 w 3867150"/>
                <a:gd name="connsiteY224" fmla="*/ 114490 h 428625"/>
                <a:gd name="connsiteX225" fmla="*/ 739521 w 3867150"/>
                <a:gd name="connsiteY225" fmla="*/ 90773 h 428625"/>
                <a:gd name="connsiteX226" fmla="*/ 682943 w 3867150"/>
                <a:gd name="connsiteY226" fmla="*/ 90773 h 428625"/>
                <a:gd name="connsiteX227" fmla="*/ 633508 w 3867150"/>
                <a:gd name="connsiteY227" fmla="*/ 338328 h 428625"/>
                <a:gd name="connsiteX228" fmla="*/ 692468 w 3867150"/>
                <a:gd name="connsiteY228" fmla="*/ 338328 h 428625"/>
                <a:gd name="connsiteX229" fmla="*/ 722852 w 3867150"/>
                <a:gd name="connsiteY229" fmla="*/ 188119 h 428625"/>
                <a:gd name="connsiteX230" fmla="*/ 773240 w 3867150"/>
                <a:gd name="connsiteY230" fmla="*/ 140589 h 428625"/>
                <a:gd name="connsiteX231" fmla="*/ 802672 w 3867150"/>
                <a:gd name="connsiteY231" fmla="*/ 171450 h 428625"/>
                <a:gd name="connsiteX232" fmla="*/ 800767 w 3867150"/>
                <a:gd name="connsiteY232" fmla="*/ 187642 h 428625"/>
                <a:gd name="connsiteX233" fmla="*/ 770382 w 3867150"/>
                <a:gd name="connsiteY233" fmla="*/ 338328 h 428625"/>
                <a:gd name="connsiteX234" fmla="*/ 829247 w 3867150"/>
                <a:gd name="connsiteY234" fmla="*/ 338328 h 428625"/>
                <a:gd name="connsiteX235" fmla="*/ 860108 w 3867150"/>
                <a:gd name="connsiteY235" fmla="*/ 183832 h 428625"/>
                <a:gd name="connsiteX236" fmla="*/ 863537 w 3867150"/>
                <a:gd name="connsiteY236" fmla="*/ 156305 h 428625"/>
                <a:gd name="connsiteX237" fmla="*/ 553688 w 3867150"/>
                <a:gd name="connsiteY237" fmla="*/ 176308 h 428625"/>
                <a:gd name="connsiteX238" fmla="*/ 548450 w 3867150"/>
                <a:gd name="connsiteY238" fmla="*/ 214313 h 428625"/>
                <a:gd name="connsiteX239" fmla="*/ 523208 w 3867150"/>
                <a:gd name="connsiteY239" fmla="*/ 276130 h 428625"/>
                <a:gd name="connsiteX240" fmla="*/ 492824 w 3867150"/>
                <a:gd name="connsiteY240" fmla="*/ 288512 h 428625"/>
                <a:gd name="connsiteX241" fmla="*/ 461391 w 3867150"/>
                <a:gd name="connsiteY241" fmla="*/ 252889 h 428625"/>
                <a:gd name="connsiteX242" fmla="*/ 466630 w 3867150"/>
                <a:gd name="connsiteY242" fmla="*/ 214408 h 428625"/>
                <a:gd name="connsiteX243" fmla="*/ 491871 w 3867150"/>
                <a:gd name="connsiteY243" fmla="*/ 153067 h 428625"/>
                <a:gd name="connsiteX244" fmla="*/ 522351 w 3867150"/>
                <a:gd name="connsiteY244" fmla="*/ 140684 h 428625"/>
                <a:gd name="connsiteX245" fmla="*/ 553688 w 3867150"/>
                <a:gd name="connsiteY245" fmla="*/ 176308 h 428625"/>
                <a:gd name="connsiteX246" fmla="*/ 612172 w 3867150"/>
                <a:gd name="connsiteY246" fmla="*/ 169640 h 428625"/>
                <a:gd name="connsiteX247" fmla="*/ 528542 w 3867150"/>
                <a:gd name="connsiteY247" fmla="*/ 87916 h 428625"/>
                <a:gd name="connsiteX248" fmla="*/ 452438 w 3867150"/>
                <a:gd name="connsiteY248" fmla="*/ 116396 h 428625"/>
                <a:gd name="connsiteX249" fmla="*/ 408242 w 3867150"/>
                <a:gd name="connsiteY249" fmla="*/ 214313 h 428625"/>
                <a:gd name="connsiteX250" fmla="*/ 403003 w 3867150"/>
                <a:gd name="connsiteY250" fmla="*/ 259461 h 428625"/>
                <a:gd name="connsiteX251" fmla="*/ 487109 w 3867150"/>
                <a:gd name="connsiteY251" fmla="*/ 341186 h 428625"/>
                <a:gd name="connsiteX252" fmla="*/ 563213 w 3867150"/>
                <a:gd name="connsiteY252" fmla="*/ 312706 h 428625"/>
                <a:gd name="connsiteX253" fmla="*/ 607409 w 3867150"/>
                <a:gd name="connsiteY253" fmla="*/ 214313 h 428625"/>
                <a:gd name="connsiteX254" fmla="*/ 612172 w 3867150"/>
                <a:gd name="connsiteY254" fmla="*/ 169640 h 428625"/>
                <a:gd name="connsiteX255" fmla="*/ 401098 w 3867150"/>
                <a:gd name="connsiteY255" fmla="*/ 953 h 428625"/>
                <a:gd name="connsiteX256" fmla="*/ 340233 w 3867150"/>
                <a:gd name="connsiteY256" fmla="*/ 953 h 428625"/>
                <a:gd name="connsiteX257" fmla="*/ 330708 w 3867150"/>
                <a:gd name="connsiteY257" fmla="*/ 49816 h 428625"/>
                <a:gd name="connsiteX258" fmla="*/ 391096 w 3867150"/>
                <a:gd name="connsiteY258" fmla="*/ 49816 h 428625"/>
                <a:gd name="connsiteX259" fmla="*/ 401098 w 3867150"/>
                <a:gd name="connsiteY259" fmla="*/ 953 h 428625"/>
                <a:gd name="connsiteX260" fmla="*/ 381191 w 3867150"/>
                <a:gd name="connsiteY260" fmla="*/ 98393 h 428625"/>
                <a:gd name="connsiteX261" fmla="*/ 322231 w 3867150"/>
                <a:gd name="connsiteY261" fmla="*/ 98393 h 428625"/>
                <a:gd name="connsiteX262" fmla="*/ 274225 w 3867150"/>
                <a:gd name="connsiteY262" fmla="*/ 338423 h 428625"/>
                <a:gd name="connsiteX263" fmla="*/ 333184 w 3867150"/>
                <a:gd name="connsiteY263" fmla="*/ 338423 h 428625"/>
                <a:gd name="connsiteX264" fmla="*/ 381191 w 3867150"/>
                <a:gd name="connsiteY264" fmla="*/ 98393 h 428625"/>
                <a:gd name="connsiteX265" fmla="*/ 215741 w 3867150"/>
                <a:gd name="connsiteY265" fmla="*/ 94583 h 428625"/>
                <a:gd name="connsiteX266" fmla="*/ 156305 w 3867150"/>
                <a:gd name="connsiteY266" fmla="*/ 151638 h 428625"/>
                <a:gd name="connsiteX267" fmla="*/ 100203 w 3867150"/>
                <a:gd name="connsiteY267" fmla="*/ 151638 h 428625"/>
                <a:gd name="connsiteX268" fmla="*/ 119729 w 3867150"/>
                <a:gd name="connsiteY268" fmla="*/ 55531 h 428625"/>
                <a:gd name="connsiteX269" fmla="*/ 177737 w 3867150"/>
                <a:gd name="connsiteY269" fmla="*/ 55531 h 428625"/>
                <a:gd name="connsiteX270" fmla="*/ 215741 w 3867150"/>
                <a:gd name="connsiteY270" fmla="*/ 94583 h 428625"/>
                <a:gd name="connsiteX271" fmla="*/ 278987 w 3867150"/>
                <a:gd name="connsiteY271" fmla="*/ 89345 h 428625"/>
                <a:gd name="connsiteX272" fmla="*/ 188214 w 3867150"/>
                <a:gd name="connsiteY272" fmla="*/ 0 h 428625"/>
                <a:gd name="connsiteX273" fmla="*/ 68008 w 3867150"/>
                <a:gd name="connsiteY273" fmla="*/ 0 h 428625"/>
                <a:gd name="connsiteX274" fmla="*/ 0 w 3867150"/>
                <a:gd name="connsiteY274" fmla="*/ 338328 h 428625"/>
                <a:gd name="connsiteX275" fmla="*/ 62770 w 3867150"/>
                <a:gd name="connsiteY275" fmla="*/ 338328 h 428625"/>
                <a:gd name="connsiteX276" fmla="*/ 88868 w 3867150"/>
                <a:gd name="connsiteY276" fmla="*/ 207169 h 428625"/>
                <a:gd name="connsiteX277" fmla="*/ 154019 w 3867150"/>
                <a:gd name="connsiteY277" fmla="*/ 207169 h 428625"/>
                <a:gd name="connsiteX278" fmla="*/ 278987 w 3867150"/>
                <a:gd name="connsiteY278" fmla="*/ 89345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3867150" h="428625">
                  <a:moveTo>
                    <a:pt x="3869817" y="118300"/>
                  </a:moveTo>
                  <a:cubicBezTo>
                    <a:pt x="3848481" y="96488"/>
                    <a:pt x="3822764" y="87916"/>
                    <a:pt x="3787617" y="87916"/>
                  </a:cubicBezTo>
                  <a:cubicBezTo>
                    <a:pt x="3752374" y="87916"/>
                    <a:pt x="3723894" y="97917"/>
                    <a:pt x="3705416" y="116396"/>
                  </a:cubicBezTo>
                  <a:cubicBezTo>
                    <a:pt x="3688842" y="132969"/>
                    <a:pt x="3680270" y="155353"/>
                    <a:pt x="3680270" y="178213"/>
                  </a:cubicBezTo>
                  <a:cubicBezTo>
                    <a:pt x="3680270" y="201549"/>
                    <a:pt x="3694462" y="226695"/>
                    <a:pt x="3739610" y="234315"/>
                  </a:cubicBezTo>
                  <a:lnTo>
                    <a:pt x="3771995" y="239554"/>
                  </a:lnTo>
                  <a:cubicBezTo>
                    <a:pt x="3786283" y="241935"/>
                    <a:pt x="3795332" y="246697"/>
                    <a:pt x="3795332" y="260032"/>
                  </a:cubicBezTo>
                  <a:cubicBezTo>
                    <a:pt x="3795332" y="274796"/>
                    <a:pt x="3778663" y="290894"/>
                    <a:pt x="3744944" y="290894"/>
                  </a:cubicBezTo>
                  <a:cubicBezTo>
                    <a:pt x="3716941" y="290894"/>
                    <a:pt x="3700272" y="281369"/>
                    <a:pt x="3687985" y="267081"/>
                  </a:cubicBezTo>
                  <a:lnTo>
                    <a:pt x="3645694" y="304133"/>
                  </a:lnTo>
                  <a:cubicBezTo>
                    <a:pt x="3667601" y="327850"/>
                    <a:pt x="3697034" y="341186"/>
                    <a:pt x="3741135" y="341186"/>
                  </a:cubicBezTo>
                  <a:cubicBezTo>
                    <a:pt x="3773043" y="341186"/>
                    <a:pt x="3807238" y="333565"/>
                    <a:pt x="3827145" y="314134"/>
                  </a:cubicBezTo>
                  <a:cubicBezTo>
                    <a:pt x="3843338" y="298513"/>
                    <a:pt x="3853720" y="278987"/>
                    <a:pt x="3853720" y="254222"/>
                  </a:cubicBezTo>
                  <a:cubicBezTo>
                    <a:pt x="3853720" y="220028"/>
                    <a:pt x="3838004" y="197167"/>
                    <a:pt x="3793903" y="190024"/>
                  </a:cubicBezTo>
                  <a:lnTo>
                    <a:pt x="3761994" y="184785"/>
                  </a:lnTo>
                  <a:cubicBezTo>
                    <a:pt x="3746754" y="182404"/>
                    <a:pt x="3739134" y="176689"/>
                    <a:pt x="3739134" y="166211"/>
                  </a:cubicBezTo>
                  <a:cubicBezTo>
                    <a:pt x="3739134" y="150971"/>
                    <a:pt x="3752469" y="136303"/>
                    <a:pt x="3782377" y="136303"/>
                  </a:cubicBezTo>
                  <a:cubicBezTo>
                    <a:pt x="3799999" y="136303"/>
                    <a:pt x="3818001" y="142018"/>
                    <a:pt x="3829431" y="153924"/>
                  </a:cubicBezTo>
                  <a:lnTo>
                    <a:pt x="3869817" y="118300"/>
                  </a:lnTo>
                  <a:close/>
                  <a:moveTo>
                    <a:pt x="3661220" y="122111"/>
                  </a:moveTo>
                  <a:cubicBezTo>
                    <a:pt x="3646456" y="103156"/>
                    <a:pt x="3624644" y="87916"/>
                    <a:pt x="3588544" y="87916"/>
                  </a:cubicBezTo>
                  <a:cubicBezTo>
                    <a:pt x="3538157" y="87916"/>
                    <a:pt x="3481197" y="113538"/>
                    <a:pt x="3462623" y="214313"/>
                  </a:cubicBezTo>
                  <a:cubicBezTo>
                    <a:pt x="3460242" y="227171"/>
                    <a:pt x="3458813" y="240982"/>
                    <a:pt x="3458813" y="252794"/>
                  </a:cubicBezTo>
                  <a:cubicBezTo>
                    <a:pt x="3458813" y="311277"/>
                    <a:pt x="3500628" y="341186"/>
                    <a:pt x="3547586" y="341186"/>
                  </a:cubicBezTo>
                  <a:cubicBezTo>
                    <a:pt x="3579400" y="341186"/>
                    <a:pt x="3608451" y="329279"/>
                    <a:pt x="3629311" y="309848"/>
                  </a:cubicBezTo>
                  <a:lnTo>
                    <a:pt x="3596545" y="267557"/>
                  </a:lnTo>
                  <a:cubicBezTo>
                    <a:pt x="3582734" y="281369"/>
                    <a:pt x="3569875" y="288512"/>
                    <a:pt x="3553301" y="288512"/>
                  </a:cubicBezTo>
                  <a:cubicBezTo>
                    <a:pt x="3530441" y="288512"/>
                    <a:pt x="3518154" y="272320"/>
                    <a:pt x="3518154" y="246221"/>
                  </a:cubicBezTo>
                  <a:cubicBezTo>
                    <a:pt x="3518154" y="234791"/>
                    <a:pt x="3519583" y="225266"/>
                    <a:pt x="3521488" y="214313"/>
                  </a:cubicBezTo>
                  <a:cubicBezTo>
                    <a:pt x="3525774" y="190976"/>
                    <a:pt x="3534823" y="169640"/>
                    <a:pt x="3547586" y="156305"/>
                  </a:cubicBezTo>
                  <a:cubicBezTo>
                    <a:pt x="3558064" y="145352"/>
                    <a:pt x="3569970" y="140589"/>
                    <a:pt x="3582734" y="140589"/>
                  </a:cubicBezTo>
                  <a:cubicBezTo>
                    <a:pt x="3597497" y="140589"/>
                    <a:pt x="3607499" y="148209"/>
                    <a:pt x="3616928" y="161068"/>
                  </a:cubicBezTo>
                  <a:lnTo>
                    <a:pt x="3661220" y="122111"/>
                  </a:lnTo>
                  <a:close/>
                  <a:moveTo>
                    <a:pt x="3456813" y="953"/>
                  </a:moveTo>
                  <a:lnTo>
                    <a:pt x="3395948" y="953"/>
                  </a:lnTo>
                  <a:lnTo>
                    <a:pt x="3386423" y="49816"/>
                  </a:lnTo>
                  <a:lnTo>
                    <a:pt x="3446812" y="49816"/>
                  </a:lnTo>
                  <a:lnTo>
                    <a:pt x="3456813" y="953"/>
                  </a:lnTo>
                  <a:close/>
                  <a:moveTo>
                    <a:pt x="3436906" y="98393"/>
                  </a:moveTo>
                  <a:lnTo>
                    <a:pt x="3377946" y="98393"/>
                  </a:lnTo>
                  <a:lnTo>
                    <a:pt x="3329940" y="338423"/>
                  </a:lnTo>
                  <a:lnTo>
                    <a:pt x="3388900" y="338423"/>
                  </a:lnTo>
                  <a:lnTo>
                    <a:pt x="3436906" y="98393"/>
                  </a:lnTo>
                  <a:close/>
                  <a:moveTo>
                    <a:pt x="3328035" y="98393"/>
                  </a:moveTo>
                  <a:lnTo>
                    <a:pt x="3287173" y="98393"/>
                  </a:lnTo>
                  <a:lnTo>
                    <a:pt x="3301937" y="24289"/>
                  </a:lnTo>
                  <a:lnTo>
                    <a:pt x="3242977" y="24289"/>
                  </a:lnTo>
                  <a:lnTo>
                    <a:pt x="3228213" y="98393"/>
                  </a:lnTo>
                  <a:lnTo>
                    <a:pt x="3203067" y="98393"/>
                  </a:lnTo>
                  <a:lnTo>
                    <a:pt x="3194019" y="142970"/>
                  </a:lnTo>
                  <a:lnTo>
                    <a:pt x="3219164" y="142970"/>
                  </a:lnTo>
                  <a:lnTo>
                    <a:pt x="3194971" y="264223"/>
                  </a:lnTo>
                  <a:cubicBezTo>
                    <a:pt x="3194019" y="269462"/>
                    <a:pt x="3193066" y="276130"/>
                    <a:pt x="3193066" y="284702"/>
                  </a:cubicBezTo>
                  <a:cubicBezTo>
                    <a:pt x="3193066" y="318421"/>
                    <a:pt x="3218688" y="338328"/>
                    <a:pt x="3252883" y="338328"/>
                  </a:cubicBezTo>
                  <a:lnTo>
                    <a:pt x="3283268" y="338328"/>
                  </a:lnTo>
                  <a:lnTo>
                    <a:pt x="3293269" y="288988"/>
                  </a:lnTo>
                  <a:lnTo>
                    <a:pt x="3271933" y="288988"/>
                  </a:lnTo>
                  <a:cubicBezTo>
                    <a:pt x="3259074" y="288988"/>
                    <a:pt x="3252883" y="283750"/>
                    <a:pt x="3252883" y="273748"/>
                  </a:cubicBezTo>
                  <a:cubicBezTo>
                    <a:pt x="3252883" y="271367"/>
                    <a:pt x="3252883" y="269462"/>
                    <a:pt x="3253836" y="264700"/>
                  </a:cubicBezTo>
                  <a:lnTo>
                    <a:pt x="3278029" y="142970"/>
                  </a:lnTo>
                  <a:lnTo>
                    <a:pt x="3318891" y="142970"/>
                  </a:lnTo>
                  <a:lnTo>
                    <a:pt x="3328035" y="98393"/>
                  </a:lnTo>
                  <a:close/>
                  <a:moveTo>
                    <a:pt x="3163062" y="118300"/>
                  </a:moveTo>
                  <a:cubicBezTo>
                    <a:pt x="3141726" y="96488"/>
                    <a:pt x="3116009" y="87916"/>
                    <a:pt x="3080861" y="87916"/>
                  </a:cubicBezTo>
                  <a:cubicBezTo>
                    <a:pt x="3045619" y="87916"/>
                    <a:pt x="3017139" y="97917"/>
                    <a:pt x="2998565" y="116396"/>
                  </a:cubicBezTo>
                  <a:cubicBezTo>
                    <a:pt x="2981992" y="132969"/>
                    <a:pt x="2973420" y="155353"/>
                    <a:pt x="2973420" y="178213"/>
                  </a:cubicBezTo>
                  <a:cubicBezTo>
                    <a:pt x="2973420" y="201549"/>
                    <a:pt x="2987707" y="226695"/>
                    <a:pt x="3032760" y="234315"/>
                  </a:cubicBezTo>
                  <a:lnTo>
                    <a:pt x="3065145" y="239554"/>
                  </a:lnTo>
                  <a:cubicBezTo>
                    <a:pt x="3079433" y="241935"/>
                    <a:pt x="3088481" y="246697"/>
                    <a:pt x="3088481" y="260032"/>
                  </a:cubicBezTo>
                  <a:cubicBezTo>
                    <a:pt x="3088481" y="274796"/>
                    <a:pt x="3071813" y="290894"/>
                    <a:pt x="3037999" y="290894"/>
                  </a:cubicBezTo>
                  <a:cubicBezTo>
                    <a:pt x="3009995" y="290894"/>
                    <a:pt x="2993327" y="281369"/>
                    <a:pt x="2981039" y="267081"/>
                  </a:cubicBezTo>
                  <a:lnTo>
                    <a:pt x="2938748" y="304133"/>
                  </a:lnTo>
                  <a:cubicBezTo>
                    <a:pt x="2960656" y="327850"/>
                    <a:pt x="2990088" y="341186"/>
                    <a:pt x="3034189" y="341186"/>
                  </a:cubicBezTo>
                  <a:cubicBezTo>
                    <a:pt x="3066098" y="341186"/>
                    <a:pt x="3100292" y="333565"/>
                    <a:pt x="3120295" y="314134"/>
                  </a:cubicBezTo>
                  <a:cubicBezTo>
                    <a:pt x="3136392" y="298513"/>
                    <a:pt x="3146870" y="278987"/>
                    <a:pt x="3146870" y="254222"/>
                  </a:cubicBezTo>
                  <a:cubicBezTo>
                    <a:pt x="3146870" y="220028"/>
                    <a:pt x="3131153" y="197167"/>
                    <a:pt x="3087053" y="190024"/>
                  </a:cubicBezTo>
                  <a:lnTo>
                    <a:pt x="3055144" y="184785"/>
                  </a:lnTo>
                  <a:cubicBezTo>
                    <a:pt x="3039904" y="182404"/>
                    <a:pt x="3032284" y="176689"/>
                    <a:pt x="3032284" y="166211"/>
                  </a:cubicBezTo>
                  <a:cubicBezTo>
                    <a:pt x="3032284" y="150971"/>
                    <a:pt x="3045619" y="136303"/>
                    <a:pt x="3075623" y="136303"/>
                  </a:cubicBezTo>
                  <a:cubicBezTo>
                    <a:pt x="3093244" y="136303"/>
                    <a:pt x="3111246" y="142018"/>
                    <a:pt x="3122676" y="153924"/>
                  </a:cubicBezTo>
                  <a:lnTo>
                    <a:pt x="3163062" y="118300"/>
                  </a:lnTo>
                  <a:close/>
                  <a:moveTo>
                    <a:pt x="2858453" y="231934"/>
                  </a:moveTo>
                  <a:lnTo>
                    <a:pt x="2855595" y="246697"/>
                  </a:lnTo>
                  <a:cubicBezTo>
                    <a:pt x="2853214" y="259080"/>
                    <a:pt x="2848451" y="270415"/>
                    <a:pt x="2840831" y="278035"/>
                  </a:cubicBezTo>
                  <a:cubicBezTo>
                    <a:pt x="2831783" y="287083"/>
                    <a:pt x="2818448" y="293275"/>
                    <a:pt x="2802350" y="293275"/>
                  </a:cubicBezTo>
                  <a:cubicBezTo>
                    <a:pt x="2780919" y="293275"/>
                    <a:pt x="2770918" y="283750"/>
                    <a:pt x="2770918" y="269938"/>
                  </a:cubicBezTo>
                  <a:cubicBezTo>
                    <a:pt x="2770918" y="248031"/>
                    <a:pt x="2786634" y="231838"/>
                    <a:pt x="2813209" y="231838"/>
                  </a:cubicBezTo>
                  <a:lnTo>
                    <a:pt x="2858453" y="231838"/>
                  </a:lnTo>
                  <a:close/>
                  <a:moveTo>
                    <a:pt x="2930652" y="156877"/>
                  </a:moveTo>
                  <a:cubicBezTo>
                    <a:pt x="2930652" y="104108"/>
                    <a:pt x="2884075" y="88011"/>
                    <a:pt x="2842736" y="88011"/>
                  </a:cubicBezTo>
                  <a:cubicBezTo>
                    <a:pt x="2796636" y="88011"/>
                    <a:pt x="2770918" y="100870"/>
                    <a:pt x="2751011" y="121253"/>
                  </a:cubicBezTo>
                  <a:lnTo>
                    <a:pt x="2781395" y="160687"/>
                  </a:lnTo>
                  <a:cubicBezTo>
                    <a:pt x="2793778" y="146875"/>
                    <a:pt x="2810447" y="137350"/>
                    <a:pt x="2834640" y="137350"/>
                  </a:cubicBezTo>
                  <a:cubicBezTo>
                    <a:pt x="2859405" y="137350"/>
                    <a:pt x="2871311" y="147352"/>
                    <a:pt x="2871311" y="164021"/>
                  </a:cubicBezTo>
                  <a:cubicBezTo>
                    <a:pt x="2871311" y="168783"/>
                    <a:pt x="2870835" y="172117"/>
                    <a:pt x="2869883" y="176879"/>
                  </a:cubicBezTo>
                  <a:lnTo>
                    <a:pt x="2866549" y="191643"/>
                  </a:lnTo>
                  <a:lnTo>
                    <a:pt x="2807589" y="191643"/>
                  </a:lnTo>
                  <a:cubicBezTo>
                    <a:pt x="2779014" y="191643"/>
                    <a:pt x="2753868" y="199263"/>
                    <a:pt x="2735390" y="217265"/>
                  </a:cubicBezTo>
                  <a:cubicBezTo>
                    <a:pt x="2721102" y="231457"/>
                    <a:pt x="2713101" y="251460"/>
                    <a:pt x="2713101" y="275749"/>
                  </a:cubicBezTo>
                  <a:cubicBezTo>
                    <a:pt x="2713101" y="313277"/>
                    <a:pt x="2740628" y="340805"/>
                    <a:pt x="2783872" y="340805"/>
                  </a:cubicBezTo>
                  <a:cubicBezTo>
                    <a:pt x="2811018" y="340805"/>
                    <a:pt x="2829973" y="330327"/>
                    <a:pt x="2843784" y="316611"/>
                  </a:cubicBezTo>
                  <a:lnTo>
                    <a:pt x="2839498" y="338423"/>
                  </a:lnTo>
                  <a:lnTo>
                    <a:pt x="2896076" y="338423"/>
                  </a:lnTo>
                  <a:lnTo>
                    <a:pt x="2928366" y="178784"/>
                  </a:lnTo>
                  <a:cubicBezTo>
                    <a:pt x="2929700" y="172021"/>
                    <a:pt x="2930652" y="163544"/>
                    <a:pt x="2930652" y="156877"/>
                  </a:cubicBezTo>
                  <a:moveTo>
                    <a:pt x="2697766" y="0"/>
                  </a:moveTo>
                  <a:lnTo>
                    <a:pt x="2638806" y="0"/>
                  </a:lnTo>
                  <a:lnTo>
                    <a:pt x="2586133" y="264223"/>
                  </a:lnTo>
                  <a:cubicBezTo>
                    <a:pt x="2584704" y="270891"/>
                    <a:pt x="2584228" y="277082"/>
                    <a:pt x="2584228" y="284702"/>
                  </a:cubicBezTo>
                  <a:cubicBezTo>
                    <a:pt x="2584228" y="318421"/>
                    <a:pt x="2609374" y="338328"/>
                    <a:pt x="2643569" y="338328"/>
                  </a:cubicBezTo>
                  <a:lnTo>
                    <a:pt x="2675858" y="338328"/>
                  </a:lnTo>
                  <a:lnTo>
                    <a:pt x="2685860" y="288512"/>
                  </a:lnTo>
                  <a:lnTo>
                    <a:pt x="2661666" y="288512"/>
                  </a:lnTo>
                  <a:cubicBezTo>
                    <a:pt x="2648807" y="288512"/>
                    <a:pt x="2643569" y="283273"/>
                    <a:pt x="2643569" y="274225"/>
                  </a:cubicBezTo>
                  <a:cubicBezTo>
                    <a:pt x="2643569" y="270415"/>
                    <a:pt x="2644045" y="268033"/>
                    <a:pt x="2644997" y="263747"/>
                  </a:cubicBezTo>
                  <a:lnTo>
                    <a:pt x="2697766" y="0"/>
                  </a:lnTo>
                  <a:close/>
                  <a:moveTo>
                    <a:pt x="2514791" y="94583"/>
                  </a:moveTo>
                  <a:cubicBezTo>
                    <a:pt x="2514791" y="120301"/>
                    <a:pt x="2496217" y="151638"/>
                    <a:pt x="2455355" y="151638"/>
                  </a:cubicBezTo>
                  <a:lnTo>
                    <a:pt x="2399253" y="151638"/>
                  </a:lnTo>
                  <a:lnTo>
                    <a:pt x="2418779" y="55531"/>
                  </a:lnTo>
                  <a:lnTo>
                    <a:pt x="2476786" y="55531"/>
                  </a:lnTo>
                  <a:cubicBezTo>
                    <a:pt x="2504885" y="55531"/>
                    <a:pt x="2514791" y="73152"/>
                    <a:pt x="2514791" y="94583"/>
                  </a:cubicBezTo>
                  <a:moveTo>
                    <a:pt x="2578037" y="89345"/>
                  </a:moveTo>
                  <a:cubicBezTo>
                    <a:pt x="2578037" y="36576"/>
                    <a:pt x="2544795" y="0"/>
                    <a:pt x="2487359" y="0"/>
                  </a:cubicBezTo>
                  <a:lnTo>
                    <a:pt x="2367058" y="0"/>
                  </a:lnTo>
                  <a:lnTo>
                    <a:pt x="2299049" y="338328"/>
                  </a:lnTo>
                  <a:lnTo>
                    <a:pt x="2361819" y="338328"/>
                  </a:lnTo>
                  <a:lnTo>
                    <a:pt x="2387918" y="207169"/>
                  </a:lnTo>
                  <a:lnTo>
                    <a:pt x="2453069" y="207169"/>
                  </a:lnTo>
                  <a:cubicBezTo>
                    <a:pt x="2534317" y="207169"/>
                    <a:pt x="2578037" y="149733"/>
                    <a:pt x="2578037" y="89345"/>
                  </a:cubicBezTo>
                  <a:moveTo>
                    <a:pt x="2105501" y="173546"/>
                  </a:moveTo>
                  <a:cubicBezTo>
                    <a:pt x="2105501" y="181165"/>
                    <a:pt x="2104073" y="192596"/>
                    <a:pt x="2101215" y="207740"/>
                  </a:cubicBezTo>
                  <a:cubicBezTo>
                    <a:pt x="2092643" y="252413"/>
                    <a:pt x="2079307" y="275272"/>
                    <a:pt x="2048923" y="275272"/>
                  </a:cubicBezTo>
                  <a:cubicBezTo>
                    <a:pt x="2027111" y="275272"/>
                    <a:pt x="2019490" y="260985"/>
                    <a:pt x="2019490" y="242506"/>
                  </a:cubicBezTo>
                  <a:cubicBezTo>
                    <a:pt x="2019490" y="234887"/>
                    <a:pt x="2020919" y="223456"/>
                    <a:pt x="2023777" y="208312"/>
                  </a:cubicBezTo>
                  <a:cubicBezTo>
                    <a:pt x="2032349" y="163639"/>
                    <a:pt x="2045589" y="140779"/>
                    <a:pt x="2076069" y="140779"/>
                  </a:cubicBezTo>
                  <a:cubicBezTo>
                    <a:pt x="2096072" y="140684"/>
                    <a:pt x="2105501" y="152971"/>
                    <a:pt x="2105501" y="173546"/>
                  </a:cubicBezTo>
                  <a:lnTo>
                    <a:pt x="2105501" y="173546"/>
                  </a:lnTo>
                  <a:close/>
                  <a:moveTo>
                    <a:pt x="2183035" y="90773"/>
                  </a:moveTo>
                  <a:lnTo>
                    <a:pt x="2125980" y="90773"/>
                  </a:lnTo>
                  <a:lnTo>
                    <a:pt x="2121218" y="115919"/>
                  </a:lnTo>
                  <a:cubicBezTo>
                    <a:pt x="2109788" y="97346"/>
                    <a:pt x="2090833" y="87821"/>
                    <a:pt x="2065115" y="87821"/>
                  </a:cubicBezTo>
                  <a:cubicBezTo>
                    <a:pt x="2042827" y="87821"/>
                    <a:pt x="2020443" y="94012"/>
                    <a:pt x="2001964" y="112490"/>
                  </a:cubicBezTo>
                  <a:cubicBezTo>
                    <a:pt x="1983010" y="131445"/>
                    <a:pt x="1973485" y="160020"/>
                    <a:pt x="1964912" y="207550"/>
                  </a:cubicBezTo>
                  <a:cubicBezTo>
                    <a:pt x="1961102" y="228505"/>
                    <a:pt x="1958721" y="246031"/>
                    <a:pt x="1958721" y="257937"/>
                  </a:cubicBezTo>
                  <a:cubicBezTo>
                    <a:pt x="1958721" y="304514"/>
                    <a:pt x="1990535" y="327755"/>
                    <a:pt x="2027111" y="327755"/>
                  </a:cubicBezTo>
                  <a:cubicBezTo>
                    <a:pt x="2051876" y="327755"/>
                    <a:pt x="2069402" y="318230"/>
                    <a:pt x="2082260" y="303086"/>
                  </a:cubicBezTo>
                  <a:lnTo>
                    <a:pt x="2077022" y="328231"/>
                  </a:lnTo>
                  <a:cubicBezTo>
                    <a:pt x="2070354" y="360140"/>
                    <a:pt x="2049494" y="381953"/>
                    <a:pt x="2016633" y="381953"/>
                  </a:cubicBezTo>
                  <a:cubicBezTo>
                    <a:pt x="1993392" y="381953"/>
                    <a:pt x="1982914" y="370999"/>
                    <a:pt x="1975295" y="362426"/>
                  </a:cubicBezTo>
                  <a:lnTo>
                    <a:pt x="1934432" y="398050"/>
                  </a:lnTo>
                  <a:cubicBezTo>
                    <a:pt x="1955387" y="421767"/>
                    <a:pt x="1980533" y="431768"/>
                    <a:pt x="2016633" y="431768"/>
                  </a:cubicBezTo>
                  <a:cubicBezTo>
                    <a:pt x="2073688" y="431768"/>
                    <a:pt x="2121218" y="400907"/>
                    <a:pt x="2135505" y="328613"/>
                  </a:cubicBezTo>
                  <a:lnTo>
                    <a:pt x="2183035" y="90773"/>
                  </a:lnTo>
                  <a:close/>
                  <a:moveTo>
                    <a:pt x="1924431" y="156305"/>
                  </a:moveTo>
                  <a:cubicBezTo>
                    <a:pt x="1924431" y="107347"/>
                    <a:pt x="1890236" y="87916"/>
                    <a:pt x="1861280" y="87916"/>
                  </a:cubicBezTo>
                  <a:cubicBezTo>
                    <a:pt x="1835563" y="87916"/>
                    <a:pt x="1811846" y="97441"/>
                    <a:pt x="1796129" y="114490"/>
                  </a:cubicBezTo>
                  <a:lnTo>
                    <a:pt x="1800415" y="90773"/>
                  </a:lnTo>
                  <a:lnTo>
                    <a:pt x="1743837" y="90773"/>
                  </a:lnTo>
                  <a:lnTo>
                    <a:pt x="1694402" y="338328"/>
                  </a:lnTo>
                  <a:lnTo>
                    <a:pt x="1753362" y="338328"/>
                  </a:lnTo>
                  <a:lnTo>
                    <a:pt x="1783747" y="188119"/>
                  </a:lnTo>
                  <a:cubicBezTo>
                    <a:pt x="1791367" y="149066"/>
                    <a:pt x="1816989" y="140589"/>
                    <a:pt x="1834134" y="140589"/>
                  </a:cubicBezTo>
                  <a:cubicBezTo>
                    <a:pt x="1849374" y="140589"/>
                    <a:pt x="1863566" y="150114"/>
                    <a:pt x="1863566" y="171450"/>
                  </a:cubicBezTo>
                  <a:cubicBezTo>
                    <a:pt x="1863566" y="176213"/>
                    <a:pt x="1862614" y="181928"/>
                    <a:pt x="1861661" y="187642"/>
                  </a:cubicBezTo>
                  <a:lnTo>
                    <a:pt x="1831277" y="338328"/>
                  </a:lnTo>
                  <a:lnTo>
                    <a:pt x="1890141" y="338328"/>
                  </a:lnTo>
                  <a:lnTo>
                    <a:pt x="1921002" y="183832"/>
                  </a:lnTo>
                  <a:cubicBezTo>
                    <a:pt x="1923002" y="175831"/>
                    <a:pt x="1924431" y="165354"/>
                    <a:pt x="1924431" y="156305"/>
                  </a:cubicBezTo>
                  <a:moveTo>
                    <a:pt x="1702022" y="953"/>
                  </a:moveTo>
                  <a:lnTo>
                    <a:pt x="1641157" y="953"/>
                  </a:lnTo>
                  <a:lnTo>
                    <a:pt x="1631632" y="49816"/>
                  </a:lnTo>
                  <a:lnTo>
                    <a:pt x="1692021" y="49816"/>
                  </a:lnTo>
                  <a:lnTo>
                    <a:pt x="1702022" y="953"/>
                  </a:lnTo>
                  <a:close/>
                  <a:moveTo>
                    <a:pt x="1682115" y="98393"/>
                  </a:moveTo>
                  <a:lnTo>
                    <a:pt x="1623155" y="98393"/>
                  </a:lnTo>
                  <a:lnTo>
                    <a:pt x="1575149" y="338423"/>
                  </a:lnTo>
                  <a:lnTo>
                    <a:pt x="1634109" y="338423"/>
                  </a:lnTo>
                  <a:lnTo>
                    <a:pt x="1682115" y="98393"/>
                  </a:lnTo>
                  <a:close/>
                  <a:moveTo>
                    <a:pt x="1592199" y="111252"/>
                  </a:moveTo>
                  <a:cubicBezTo>
                    <a:pt x="1578864" y="95536"/>
                    <a:pt x="1563243" y="88011"/>
                    <a:pt x="1539431" y="88011"/>
                  </a:cubicBezTo>
                  <a:cubicBezTo>
                    <a:pt x="1513713" y="88011"/>
                    <a:pt x="1490472" y="98488"/>
                    <a:pt x="1476661" y="115062"/>
                  </a:cubicBezTo>
                  <a:lnTo>
                    <a:pt x="1481900" y="90869"/>
                  </a:lnTo>
                  <a:lnTo>
                    <a:pt x="1424845" y="90869"/>
                  </a:lnTo>
                  <a:lnTo>
                    <a:pt x="1375410" y="338423"/>
                  </a:lnTo>
                  <a:lnTo>
                    <a:pt x="1434370" y="338423"/>
                  </a:lnTo>
                  <a:lnTo>
                    <a:pt x="1464278" y="188690"/>
                  </a:lnTo>
                  <a:cubicBezTo>
                    <a:pt x="1469993" y="160115"/>
                    <a:pt x="1490853" y="141161"/>
                    <a:pt x="1514189" y="141161"/>
                  </a:cubicBezTo>
                  <a:cubicBezTo>
                    <a:pt x="1527048" y="141161"/>
                    <a:pt x="1535144" y="148304"/>
                    <a:pt x="1541240" y="156400"/>
                  </a:cubicBezTo>
                  <a:lnTo>
                    <a:pt x="1592199" y="111252"/>
                  </a:lnTo>
                  <a:close/>
                  <a:moveTo>
                    <a:pt x="1298067" y="176308"/>
                  </a:moveTo>
                  <a:cubicBezTo>
                    <a:pt x="1298067" y="181546"/>
                    <a:pt x="1297591" y="187738"/>
                    <a:pt x="1296638" y="192977"/>
                  </a:cubicBezTo>
                  <a:lnTo>
                    <a:pt x="1205770" y="192977"/>
                  </a:lnTo>
                  <a:cubicBezTo>
                    <a:pt x="1216724" y="152495"/>
                    <a:pt x="1237679" y="136303"/>
                    <a:pt x="1262825" y="136303"/>
                  </a:cubicBezTo>
                  <a:cubicBezTo>
                    <a:pt x="1283780" y="136398"/>
                    <a:pt x="1298067" y="150209"/>
                    <a:pt x="1298067" y="176308"/>
                  </a:cubicBezTo>
                  <a:moveTo>
                    <a:pt x="1354074" y="176308"/>
                  </a:moveTo>
                  <a:cubicBezTo>
                    <a:pt x="1354074" y="122587"/>
                    <a:pt x="1318451" y="87916"/>
                    <a:pt x="1266158" y="87916"/>
                  </a:cubicBezTo>
                  <a:cubicBezTo>
                    <a:pt x="1180529" y="87916"/>
                    <a:pt x="1140238" y="171069"/>
                    <a:pt x="1140238" y="254222"/>
                  </a:cubicBezTo>
                  <a:cubicBezTo>
                    <a:pt x="1140238" y="319373"/>
                    <a:pt x="1189101" y="341186"/>
                    <a:pt x="1231964" y="341186"/>
                  </a:cubicBezTo>
                  <a:cubicBezTo>
                    <a:pt x="1269111" y="341186"/>
                    <a:pt x="1302830" y="328803"/>
                    <a:pt x="1328452" y="305086"/>
                  </a:cubicBezTo>
                  <a:lnTo>
                    <a:pt x="1297591" y="266129"/>
                  </a:lnTo>
                  <a:cubicBezTo>
                    <a:pt x="1280446" y="282797"/>
                    <a:pt x="1262348" y="291370"/>
                    <a:pt x="1238631" y="291370"/>
                  </a:cubicBezTo>
                  <a:cubicBezTo>
                    <a:pt x="1210056" y="291370"/>
                    <a:pt x="1196340" y="274225"/>
                    <a:pt x="1196340" y="249936"/>
                  </a:cubicBezTo>
                  <a:cubicBezTo>
                    <a:pt x="1196340" y="244221"/>
                    <a:pt x="1197293" y="238030"/>
                    <a:pt x="1198245" y="232315"/>
                  </a:cubicBezTo>
                  <a:lnTo>
                    <a:pt x="1346549" y="232315"/>
                  </a:lnTo>
                  <a:cubicBezTo>
                    <a:pt x="1350740" y="213360"/>
                    <a:pt x="1354074" y="192977"/>
                    <a:pt x="1354074" y="176308"/>
                  </a:cubicBezTo>
                  <a:moveTo>
                    <a:pt x="1054227" y="176308"/>
                  </a:moveTo>
                  <a:cubicBezTo>
                    <a:pt x="1054227" y="181546"/>
                    <a:pt x="1053751" y="187738"/>
                    <a:pt x="1052798" y="192977"/>
                  </a:cubicBezTo>
                  <a:lnTo>
                    <a:pt x="961930" y="192977"/>
                  </a:lnTo>
                  <a:cubicBezTo>
                    <a:pt x="972884" y="152495"/>
                    <a:pt x="993838" y="136303"/>
                    <a:pt x="1018984" y="136303"/>
                  </a:cubicBezTo>
                  <a:cubicBezTo>
                    <a:pt x="1039940" y="136398"/>
                    <a:pt x="1054227" y="150209"/>
                    <a:pt x="1054227" y="176308"/>
                  </a:cubicBezTo>
                  <a:moveTo>
                    <a:pt x="1110234" y="176308"/>
                  </a:moveTo>
                  <a:cubicBezTo>
                    <a:pt x="1110234" y="122587"/>
                    <a:pt x="1074611" y="87916"/>
                    <a:pt x="1022318" y="87916"/>
                  </a:cubicBezTo>
                  <a:cubicBezTo>
                    <a:pt x="936688" y="87916"/>
                    <a:pt x="896398" y="171069"/>
                    <a:pt x="896398" y="254222"/>
                  </a:cubicBezTo>
                  <a:cubicBezTo>
                    <a:pt x="896398" y="319373"/>
                    <a:pt x="945261" y="341186"/>
                    <a:pt x="988124" y="341186"/>
                  </a:cubicBezTo>
                  <a:cubicBezTo>
                    <a:pt x="1025176" y="341186"/>
                    <a:pt x="1058990" y="328803"/>
                    <a:pt x="1084612" y="305086"/>
                  </a:cubicBezTo>
                  <a:lnTo>
                    <a:pt x="1053751" y="266129"/>
                  </a:lnTo>
                  <a:cubicBezTo>
                    <a:pt x="1036606" y="282797"/>
                    <a:pt x="1018604" y="291370"/>
                    <a:pt x="994791" y="291370"/>
                  </a:cubicBezTo>
                  <a:cubicBezTo>
                    <a:pt x="966216" y="291370"/>
                    <a:pt x="952500" y="274225"/>
                    <a:pt x="952500" y="249936"/>
                  </a:cubicBezTo>
                  <a:cubicBezTo>
                    <a:pt x="952500" y="244221"/>
                    <a:pt x="953453" y="238030"/>
                    <a:pt x="954405" y="232315"/>
                  </a:cubicBezTo>
                  <a:lnTo>
                    <a:pt x="1102709" y="232315"/>
                  </a:lnTo>
                  <a:cubicBezTo>
                    <a:pt x="1106900" y="213360"/>
                    <a:pt x="1110234" y="192977"/>
                    <a:pt x="1110234" y="176308"/>
                  </a:cubicBezTo>
                  <a:moveTo>
                    <a:pt x="863537" y="156305"/>
                  </a:moveTo>
                  <a:cubicBezTo>
                    <a:pt x="863537" y="107347"/>
                    <a:pt x="829342" y="87916"/>
                    <a:pt x="800386" y="87916"/>
                  </a:cubicBezTo>
                  <a:cubicBezTo>
                    <a:pt x="774763" y="87916"/>
                    <a:pt x="750951" y="97441"/>
                    <a:pt x="735235" y="114490"/>
                  </a:cubicBezTo>
                  <a:lnTo>
                    <a:pt x="739521" y="90773"/>
                  </a:lnTo>
                  <a:lnTo>
                    <a:pt x="682943" y="90773"/>
                  </a:lnTo>
                  <a:lnTo>
                    <a:pt x="633508" y="338328"/>
                  </a:lnTo>
                  <a:lnTo>
                    <a:pt x="692468" y="338328"/>
                  </a:lnTo>
                  <a:lnTo>
                    <a:pt x="722852" y="188119"/>
                  </a:lnTo>
                  <a:cubicBezTo>
                    <a:pt x="730472" y="149066"/>
                    <a:pt x="756095" y="140589"/>
                    <a:pt x="773240" y="140589"/>
                  </a:cubicBezTo>
                  <a:cubicBezTo>
                    <a:pt x="788480" y="140589"/>
                    <a:pt x="802672" y="150114"/>
                    <a:pt x="802672" y="171450"/>
                  </a:cubicBezTo>
                  <a:cubicBezTo>
                    <a:pt x="802672" y="176213"/>
                    <a:pt x="801719" y="181928"/>
                    <a:pt x="800767" y="187642"/>
                  </a:cubicBezTo>
                  <a:lnTo>
                    <a:pt x="770382" y="338328"/>
                  </a:lnTo>
                  <a:lnTo>
                    <a:pt x="829247" y="338328"/>
                  </a:lnTo>
                  <a:lnTo>
                    <a:pt x="860108" y="183832"/>
                  </a:lnTo>
                  <a:cubicBezTo>
                    <a:pt x="862108" y="175831"/>
                    <a:pt x="863537" y="165354"/>
                    <a:pt x="863537" y="156305"/>
                  </a:cubicBezTo>
                  <a:moveTo>
                    <a:pt x="553688" y="176308"/>
                  </a:moveTo>
                  <a:cubicBezTo>
                    <a:pt x="553688" y="181546"/>
                    <a:pt x="552736" y="193453"/>
                    <a:pt x="548450" y="214313"/>
                  </a:cubicBezTo>
                  <a:cubicBezTo>
                    <a:pt x="542734" y="245269"/>
                    <a:pt x="535115" y="264700"/>
                    <a:pt x="523208" y="276130"/>
                  </a:cubicBezTo>
                  <a:cubicBezTo>
                    <a:pt x="515588" y="283750"/>
                    <a:pt x="505111" y="288512"/>
                    <a:pt x="492824" y="288512"/>
                  </a:cubicBezTo>
                  <a:cubicBezTo>
                    <a:pt x="474250" y="288512"/>
                    <a:pt x="461391" y="276606"/>
                    <a:pt x="461391" y="252889"/>
                  </a:cubicBezTo>
                  <a:cubicBezTo>
                    <a:pt x="461391" y="247174"/>
                    <a:pt x="462344" y="235744"/>
                    <a:pt x="466630" y="214408"/>
                  </a:cubicBezTo>
                  <a:cubicBezTo>
                    <a:pt x="472821" y="184023"/>
                    <a:pt x="479965" y="164497"/>
                    <a:pt x="491871" y="153067"/>
                  </a:cubicBezTo>
                  <a:cubicBezTo>
                    <a:pt x="499491" y="145447"/>
                    <a:pt x="510445" y="140684"/>
                    <a:pt x="522351" y="140684"/>
                  </a:cubicBezTo>
                  <a:cubicBezTo>
                    <a:pt x="540925" y="140684"/>
                    <a:pt x="553688" y="152019"/>
                    <a:pt x="553688" y="176308"/>
                  </a:cubicBezTo>
                  <a:moveTo>
                    <a:pt x="612172" y="169640"/>
                  </a:moveTo>
                  <a:cubicBezTo>
                    <a:pt x="612172" y="112586"/>
                    <a:pt x="569881" y="87916"/>
                    <a:pt x="528542" y="87916"/>
                  </a:cubicBezTo>
                  <a:cubicBezTo>
                    <a:pt x="497110" y="87916"/>
                    <a:pt x="471011" y="98393"/>
                    <a:pt x="452438" y="116396"/>
                  </a:cubicBezTo>
                  <a:cubicBezTo>
                    <a:pt x="430625" y="137255"/>
                    <a:pt x="418719" y="162496"/>
                    <a:pt x="408242" y="214313"/>
                  </a:cubicBezTo>
                  <a:cubicBezTo>
                    <a:pt x="405860" y="225742"/>
                    <a:pt x="403003" y="244316"/>
                    <a:pt x="403003" y="259461"/>
                  </a:cubicBezTo>
                  <a:cubicBezTo>
                    <a:pt x="403003" y="316516"/>
                    <a:pt x="445294" y="341186"/>
                    <a:pt x="487109" y="341186"/>
                  </a:cubicBezTo>
                  <a:cubicBezTo>
                    <a:pt x="518541" y="341186"/>
                    <a:pt x="544163" y="330708"/>
                    <a:pt x="563213" y="312706"/>
                  </a:cubicBezTo>
                  <a:cubicBezTo>
                    <a:pt x="584549" y="291846"/>
                    <a:pt x="596932" y="266605"/>
                    <a:pt x="607409" y="214313"/>
                  </a:cubicBezTo>
                  <a:cubicBezTo>
                    <a:pt x="609314" y="203454"/>
                    <a:pt x="612172" y="184880"/>
                    <a:pt x="612172" y="169640"/>
                  </a:cubicBezTo>
                  <a:moveTo>
                    <a:pt x="401098" y="953"/>
                  </a:moveTo>
                  <a:lnTo>
                    <a:pt x="340233" y="953"/>
                  </a:lnTo>
                  <a:lnTo>
                    <a:pt x="330708" y="49816"/>
                  </a:lnTo>
                  <a:lnTo>
                    <a:pt x="391096" y="49816"/>
                  </a:lnTo>
                  <a:lnTo>
                    <a:pt x="401098" y="953"/>
                  </a:lnTo>
                  <a:close/>
                  <a:moveTo>
                    <a:pt x="381191" y="98393"/>
                  </a:moveTo>
                  <a:lnTo>
                    <a:pt x="322231" y="98393"/>
                  </a:lnTo>
                  <a:lnTo>
                    <a:pt x="274225" y="338423"/>
                  </a:lnTo>
                  <a:lnTo>
                    <a:pt x="333184" y="338423"/>
                  </a:lnTo>
                  <a:lnTo>
                    <a:pt x="381191" y="98393"/>
                  </a:lnTo>
                  <a:close/>
                  <a:moveTo>
                    <a:pt x="215741" y="94583"/>
                  </a:moveTo>
                  <a:cubicBezTo>
                    <a:pt x="215741" y="120301"/>
                    <a:pt x="197167" y="151638"/>
                    <a:pt x="156305" y="151638"/>
                  </a:cubicBezTo>
                  <a:lnTo>
                    <a:pt x="100203" y="151638"/>
                  </a:lnTo>
                  <a:lnTo>
                    <a:pt x="119729" y="55531"/>
                  </a:lnTo>
                  <a:lnTo>
                    <a:pt x="177737" y="55531"/>
                  </a:lnTo>
                  <a:cubicBezTo>
                    <a:pt x="205835" y="55531"/>
                    <a:pt x="215741" y="73152"/>
                    <a:pt x="215741" y="94583"/>
                  </a:cubicBezTo>
                  <a:moveTo>
                    <a:pt x="278987" y="89345"/>
                  </a:moveTo>
                  <a:cubicBezTo>
                    <a:pt x="278987" y="36576"/>
                    <a:pt x="245745" y="0"/>
                    <a:pt x="188214" y="0"/>
                  </a:cubicBezTo>
                  <a:lnTo>
                    <a:pt x="68008" y="0"/>
                  </a:lnTo>
                  <a:lnTo>
                    <a:pt x="0" y="338328"/>
                  </a:lnTo>
                  <a:lnTo>
                    <a:pt x="62770" y="338328"/>
                  </a:lnTo>
                  <a:lnTo>
                    <a:pt x="88868" y="207169"/>
                  </a:lnTo>
                  <a:lnTo>
                    <a:pt x="154019" y="207169"/>
                  </a:lnTo>
                  <a:cubicBezTo>
                    <a:pt x="235267" y="207169"/>
                    <a:pt x="278987" y="149733"/>
                    <a:pt x="278987" y="89345"/>
                  </a:cubicBezTo>
                </a:path>
              </a:pathLst>
            </a:custGeom>
            <a:solidFill>
              <a:srgbClr val="FF83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D4193EF5-4CF0-44D6-8690-C5075BFE81F1}"/>
                </a:ext>
              </a:extLst>
            </p:cNvPr>
            <p:cNvGrpSpPr/>
            <p:nvPr/>
          </p:nvGrpSpPr>
          <p:grpSpPr>
            <a:xfrm>
              <a:off x="9237264" y="1690722"/>
              <a:ext cx="2576929" cy="342865"/>
              <a:chOff x="7825183" y="3513172"/>
              <a:chExt cx="2540191" cy="337977"/>
            </a:xfrm>
            <a:solidFill>
              <a:schemeClr val="bg1"/>
            </a:solidFill>
          </p:grpSpPr>
          <p:sp>
            <p:nvSpPr>
              <p:cNvPr id="33" name="Freihandform: Form 32">
                <a:extLst>
                  <a:ext uri="{FF2B5EF4-FFF2-40B4-BE49-F238E27FC236}">
                    <a16:creationId xmlns:a16="http://schemas.microsoft.com/office/drawing/2014/main" id="{F62F2684-4B67-4AB3-8952-A2C96D5CF23D}"/>
                  </a:ext>
                </a:extLst>
              </p:cNvPr>
              <p:cNvSpPr/>
              <p:nvPr/>
            </p:nvSpPr>
            <p:spPr>
              <a:xfrm>
                <a:off x="8092635" y="3606967"/>
                <a:ext cx="158000" cy="229819"/>
              </a:xfrm>
              <a:custGeom>
                <a:avLst/>
                <a:gdLst>
                  <a:gd name="connsiteX0" fmla="*/ 105061 w 104775"/>
                  <a:gd name="connsiteY0" fmla="*/ 0 h 152400"/>
                  <a:gd name="connsiteX1" fmla="*/ 110204 w 104775"/>
                  <a:gd name="connsiteY1" fmla="*/ 381 h 152400"/>
                  <a:gd name="connsiteX2" fmla="*/ 102680 w 104775"/>
                  <a:gd name="connsiteY2" fmla="*/ 37719 h 152400"/>
                  <a:gd name="connsiteX3" fmla="*/ 88868 w 104775"/>
                  <a:gd name="connsiteY3" fmla="*/ 34957 h 152400"/>
                  <a:gd name="connsiteX4" fmla="*/ 56769 w 104775"/>
                  <a:gd name="connsiteY4" fmla="*/ 64770 h 152400"/>
                  <a:gd name="connsiteX5" fmla="*/ 37910 w 104775"/>
                  <a:gd name="connsiteY5" fmla="*/ 159448 h 152400"/>
                  <a:gd name="connsiteX6" fmla="*/ 0 w 104775"/>
                  <a:gd name="connsiteY6" fmla="*/ 159448 h 152400"/>
                  <a:gd name="connsiteX7" fmla="*/ 31147 w 104775"/>
                  <a:gd name="connsiteY7" fmla="*/ 3429 h 152400"/>
                  <a:gd name="connsiteX8" fmla="*/ 67818 w 104775"/>
                  <a:gd name="connsiteY8" fmla="*/ 3429 h 152400"/>
                  <a:gd name="connsiteX9" fmla="*/ 64770 w 104775"/>
                  <a:gd name="connsiteY9" fmla="*/ 17526 h 152400"/>
                  <a:gd name="connsiteX10" fmla="*/ 105061 w 104775"/>
                  <a:gd name="connsiteY10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4775" h="152400">
                    <a:moveTo>
                      <a:pt x="105061" y="0"/>
                    </a:moveTo>
                    <a:cubicBezTo>
                      <a:pt x="106775" y="0"/>
                      <a:pt x="108966" y="190"/>
                      <a:pt x="110204" y="381"/>
                    </a:cubicBezTo>
                    <a:lnTo>
                      <a:pt x="102680" y="37719"/>
                    </a:lnTo>
                    <a:cubicBezTo>
                      <a:pt x="98107" y="35719"/>
                      <a:pt x="92964" y="34957"/>
                      <a:pt x="88868" y="34957"/>
                    </a:cubicBezTo>
                    <a:cubicBezTo>
                      <a:pt x="73914" y="34957"/>
                      <a:pt x="60484" y="46482"/>
                      <a:pt x="56769" y="64770"/>
                    </a:cubicBezTo>
                    <a:lnTo>
                      <a:pt x="37910" y="159448"/>
                    </a:lnTo>
                    <a:lnTo>
                      <a:pt x="0" y="159448"/>
                    </a:lnTo>
                    <a:lnTo>
                      <a:pt x="31147" y="3429"/>
                    </a:lnTo>
                    <a:lnTo>
                      <a:pt x="67818" y="3429"/>
                    </a:lnTo>
                    <a:lnTo>
                      <a:pt x="64770" y="17526"/>
                    </a:lnTo>
                    <a:cubicBezTo>
                      <a:pt x="73629" y="6763"/>
                      <a:pt x="88582" y="0"/>
                      <a:pt x="105061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4" name="Freihandform: Form 33">
                <a:extLst>
                  <a:ext uri="{FF2B5EF4-FFF2-40B4-BE49-F238E27FC236}">
                    <a16:creationId xmlns:a16="http://schemas.microsoft.com/office/drawing/2014/main" id="{331225DC-3560-4B65-A6B1-30A92A68A8D9}"/>
                  </a:ext>
                </a:extLst>
              </p:cNvPr>
              <p:cNvSpPr/>
              <p:nvPr/>
            </p:nvSpPr>
            <p:spPr>
              <a:xfrm>
                <a:off x="8484763" y="3612137"/>
                <a:ext cx="215455" cy="229819"/>
              </a:xfrm>
              <a:custGeom>
                <a:avLst/>
                <a:gdLst>
                  <a:gd name="connsiteX0" fmla="*/ 149066 w 142875"/>
                  <a:gd name="connsiteY0" fmla="*/ 0 h 152400"/>
                  <a:gd name="connsiteX1" fmla="*/ 118206 w 142875"/>
                  <a:gd name="connsiteY1" fmla="*/ 156020 h 152400"/>
                  <a:gd name="connsiteX2" fmla="*/ 81820 w 142875"/>
                  <a:gd name="connsiteY2" fmla="*/ 156020 h 152400"/>
                  <a:gd name="connsiteX3" fmla="*/ 84297 w 142875"/>
                  <a:gd name="connsiteY3" fmla="*/ 142399 h 152400"/>
                  <a:gd name="connsiteX4" fmla="*/ 40672 w 142875"/>
                  <a:gd name="connsiteY4" fmla="*/ 159449 h 152400"/>
                  <a:gd name="connsiteX5" fmla="*/ 0 w 142875"/>
                  <a:gd name="connsiteY5" fmla="*/ 115157 h 152400"/>
                  <a:gd name="connsiteX6" fmla="*/ 1810 w 142875"/>
                  <a:gd name="connsiteY6" fmla="*/ 97727 h 152400"/>
                  <a:gd name="connsiteX7" fmla="*/ 21336 w 142875"/>
                  <a:gd name="connsiteY7" fmla="*/ 0 h 152400"/>
                  <a:gd name="connsiteX8" fmla="*/ 59246 w 142875"/>
                  <a:gd name="connsiteY8" fmla="*/ 0 h 152400"/>
                  <a:gd name="connsiteX9" fmla="*/ 40291 w 142875"/>
                  <a:gd name="connsiteY9" fmla="*/ 95345 h 152400"/>
                  <a:gd name="connsiteX10" fmla="*/ 39053 w 142875"/>
                  <a:gd name="connsiteY10" fmla="*/ 105728 h 152400"/>
                  <a:gd name="connsiteX11" fmla="*/ 58008 w 142875"/>
                  <a:gd name="connsiteY11" fmla="*/ 125635 h 152400"/>
                  <a:gd name="connsiteX12" fmla="*/ 92107 w 142875"/>
                  <a:gd name="connsiteY12" fmla="*/ 95060 h 152400"/>
                  <a:gd name="connsiteX13" fmla="*/ 110966 w 142875"/>
                  <a:gd name="connsiteY13" fmla="*/ 95 h 152400"/>
                  <a:gd name="connsiteX14" fmla="*/ 149066 w 142875"/>
                  <a:gd name="connsiteY14" fmla="*/ 9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2875" h="152400">
                    <a:moveTo>
                      <a:pt x="149066" y="0"/>
                    </a:moveTo>
                    <a:lnTo>
                      <a:pt x="118206" y="156020"/>
                    </a:lnTo>
                    <a:lnTo>
                      <a:pt x="81820" y="156020"/>
                    </a:lnTo>
                    <a:lnTo>
                      <a:pt x="84297" y="142399"/>
                    </a:lnTo>
                    <a:cubicBezTo>
                      <a:pt x="73914" y="153067"/>
                      <a:pt x="57150" y="159449"/>
                      <a:pt x="40672" y="159449"/>
                    </a:cubicBezTo>
                    <a:cubicBezTo>
                      <a:pt x="22003" y="159449"/>
                      <a:pt x="0" y="146971"/>
                      <a:pt x="0" y="115157"/>
                    </a:cubicBezTo>
                    <a:cubicBezTo>
                      <a:pt x="0" y="108776"/>
                      <a:pt x="953" y="102965"/>
                      <a:pt x="1810" y="97727"/>
                    </a:cubicBezTo>
                    <a:lnTo>
                      <a:pt x="21336" y="0"/>
                    </a:lnTo>
                    <a:lnTo>
                      <a:pt x="59246" y="0"/>
                    </a:lnTo>
                    <a:lnTo>
                      <a:pt x="40291" y="95345"/>
                    </a:lnTo>
                    <a:cubicBezTo>
                      <a:pt x="39720" y="98679"/>
                      <a:pt x="39053" y="102679"/>
                      <a:pt x="39053" y="105728"/>
                    </a:cubicBezTo>
                    <a:cubicBezTo>
                      <a:pt x="39053" y="119444"/>
                      <a:pt x="48578" y="125635"/>
                      <a:pt x="58008" y="125635"/>
                    </a:cubicBezTo>
                    <a:cubicBezTo>
                      <a:pt x="68675" y="125635"/>
                      <a:pt x="87249" y="120110"/>
                      <a:pt x="92107" y="95060"/>
                    </a:cubicBezTo>
                    <a:lnTo>
                      <a:pt x="110966" y="95"/>
                    </a:lnTo>
                    <a:lnTo>
                      <a:pt x="149066" y="9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5" name="Freihandform: Form 34">
                <a:extLst>
                  <a:ext uri="{FF2B5EF4-FFF2-40B4-BE49-F238E27FC236}">
                    <a16:creationId xmlns:a16="http://schemas.microsoft.com/office/drawing/2014/main" id="{024737E8-D7EC-414C-BC62-5CFBE817AADD}"/>
                  </a:ext>
                </a:extLst>
              </p:cNvPr>
              <p:cNvSpPr/>
              <p:nvPr/>
            </p:nvSpPr>
            <p:spPr>
              <a:xfrm>
                <a:off x="8930181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8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8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586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3" y="130588"/>
                      <a:pt x="56198" y="130588"/>
                    </a:cubicBezTo>
                    <a:cubicBezTo>
                      <a:pt x="77914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72ECEFA3-7140-43D8-B570-3CCD1A206AE1}"/>
                  </a:ext>
                </a:extLst>
              </p:cNvPr>
              <p:cNvSpPr/>
              <p:nvPr/>
            </p:nvSpPr>
            <p:spPr>
              <a:xfrm>
                <a:off x="10307919" y="3513172"/>
                <a:ext cx="57455" cy="57455"/>
              </a:xfrm>
              <a:custGeom>
                <a:avLst/>
                <a:gdLst>
                  <a:gd name="connsiteX0" fmla="*/ 23639 w 38100"/>
                  <a:gd name="connsiteY0" fmla="*/ 0 h 38100"/>
                  <a:gd name="connsiteX1" fmla="*/ 17 w 38100"/>
                  <a:gd name="connsiteY1" fmla="*/ 22670 h 38100"/>
                  <a:gd name="connsiteX2" fmla="*/ 21829 w 38100"/>
                  <a:gd name="connsiteY2" fmla="*/ 45339 h 38100"/>
                  <a:gd name="connsiteX3" fmla="*/ 45355 w 38100"/>
                  <a:gd name="connsiteY3" fmla="*/ 22670 h 38100"/>
                  <a:gd name="connsiteX4" fmla="*/ 23639 w 38100"/>
                  <a:gd name="connsiteY4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23639" y="0"/>
                    </a:moveTo>
                    <a:cubicBezTo>
                      <a:pt x="11161" y="0"/>
                      <a:pt x="493" y="10192"/>
                      <a:pt x="17" y="22670"/>
                    </a:cubicBezTo>
                    <a:cubicBezTo>
                      <a:pt x="-460" y="35242"/>
                      <a:pt x="9256" y="45339"/>
                      <a:pt x="21829" y="45339"/>
                    </a:cubicBezTo>
                    <a:cubicBezTo>
                      <a:pt x="34307" y="45339"/>
                      <a:pt x="44879" y="35147"/>
                      <a:pt x="45355" y="22670"/>
                    </a:cubicBezTo>
                    <a:cubicBezTo>
                      <a:pt x="45927" y="10096"/>
                      <a:pt x="36212" y="0"/>
                      <a:pt x="23639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74ADDC45-980A-4678-9089-31CEACF90EFC}"/>
                  </a:ext>
                </a:extLst>
              </p:cNvPr>
              <p:cNvSpPr/>
              <p:nvPr/>
            </p:nvSpPr>
            <p:spPr>
              <a:xfrm>
                <a:off x="10030007" y="3606249"/>
                <a:ext cx="201091" cy="244182"/>
              </a:xfrm>
              <a:custGeom>
                <a:avLst/>
                <a:gdLst>
                  <a:gd name="connsiteX0" fmla="*/ 78962 w 133350"/>
                  <a:gd name="connsiteY0" fmla="*/ 31242 h 161925"/>
                  <a:gd name="connsiteX1" fmla="*/ 101441 w 133350"/>
                  <a:gd name="connsiteY1" fmla="*/ 57341 h 161925"/>
                  <a:gd name="connsiteX2" fmla="*/ 100679 w 133350"/>
                  <a:gd name="connsiteY2" fmla="*/ 66961 h 161925"/>
                  <a:gd name="connsiteX3" fmla="*/ 42386 w 133350"/>
                  <a:gd name="connsiteY3" fmla="*/ 66961 h 161925"/>
                  <a:gd name="connsiteX4" fmla="*/ 78962 w 133350"/>
                  <a:gd name="connsiteY4" fmla="*/ 31242 h 161925"/>
                  <a:gd name="connsiteX5" fmla="*/ 132493 w 133350"/>
                  <a:gd name="connsiteY5" fmla="*/ 94583 h 161925"/>
                  <a:gd name="connsiteX6" fmla="*/ 137541 w 133350"/>
                  <a:gd name="connsiteY6" fmla="*/ 57341 h 161925"/>
                  <a:gd name="connsiteX7" fmla="*/ 81153 w 133350"/>
                  <a:gd name="connsiteY7" fmla="*/ 0 h 161925"/>
                  <a:gd name="connsiteX8" fmla="*/ 0 w 133350"/>
                  <a:gd name="connsiteY8" fmla="*/ 107442 h 161925"/>
                  <a:gd name="connsiteX9" fmla="*/ 61913 w 133350"/>
                  <a:gd name="connsiteY9" fmla="*/ 163830 h 161925"/>
                  <a:gd name="connsiteX10" fmla="*/ 116205 w 133350"/>
                  <a:gd name="connsiteY10" fmla="*/ 153734 h 161925"/>
                  <a:gd name="connsiteX11" fmla="*/ 123158 w 133350"/>
                  <a:gd name="connsiteY11" fmla="*/ 118967 h 161925"/>
                  <a:gd name="connsiteX12" fmla="*/ 67723 w 133350"/>
                  <a:gd name="connsiteY12" fmla="*/ 131826 h 161925"/>
                  <a:gd name="connsiteX13" fmla="*/ 36005 w 133350"/>
                  <a:gd name="connsiteY13" fmla="*/ 104775 h 161925"/>
                  <a:gd name="connsiteX14" fmla="*/ 37052 w 133350"/>
                  <a:gd name="connsiteY14" fmla="*/ 94583 h 161925"/>
                  <a:gd name="connsiteX15" fmla="*/ 132493 w 133350"/>
                  <a:gd name="connsiteY15" fmla="*/ 94583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3350" h="161925">
                    <a:moveTo>
                      <a:pt x="78962" y="31242"/>
                    </a:moveTo>
                    <a:cubicBezTo>
                      <a:pt x="92678" y="31242"/>
                      <a:pt x="101441" y="40862"/>
                      <a:pt x="101441" y="57341"/>
                    </a:cubicBezTo>
                    <a:cubicBezTo>
                      <a:pt x="101441" y="60389"/>
                      <a:pt x="101155" y="63818"/>
                      <a:pt x="100679" y="66961"/>
                    </a:cubicBezTo>
                    <a:lnTo>
                      <a:pt x="42386" y="66961"/>
                    </a:lnTo>
                    <a:cubicBezTo>
                      <a:pt x="49530" y="42101"/>
                      <a:pt x="62960" y="31242"/>
                      <a:pt x="78962" y="31242"/>
                    </a:cubicBezTo>
                    <a:moveTo>
                      <a:pt x="132493" y="94583"/>
                    </a:moveTo>
                    <a:cubicBezTo>
                      <a:pt x="135255" y="82010"/>
                      <a:pt x="137541" y="68009"/>
                      <a:pt x="137541" y="57341"/>
                    </a:cubicBezTo>
                    <a:cubicBezTo>
                      <a:pt x="137541" y="22765"/>
                      <a:pt x="115062" y="0"/>
                      <a:pt x="81153" y="0"/>
                    </a:cubicBezTo>
                    <a:cubicBezTo>
                      <a:pt x="26384" y="0"/>
                      <a:pt x="0" y="53912"/>
                      <a:pt x="0" y="107442"/>
                    </a:cubicBezTo>
                    <a:cubicBezTo>
                      <a:pt x="0" y="149352"/>
                      <a:pt x="30861" y="163830"/>
                      <a:pt x="61913" y="163830"/>
                    </a:cubicBezTo>
                    <a:cubicBezTo>
                      <a:pt x="85820" y="163830"/>
                      <a:pt x="103441" y="159163"/>
                      <a:pt x="116205" y="153734"/>
                    </a:cubicBezTo>
                    <a:lnTo>
                      <a:pt x="123158" y="118967"/>
                    </a:lnTo>
                    <a:cubicBezTo>
                      <a:pt x="115919" y="122968"/>
                      <a:pt x="97727" y="131826"/>
                      <a:pt x="67723" y="131826"/>
                    </a:cubicBezTo>
                    <a:cubicBezTo>
                      <a:pt x="44387" y="131826"/>
                      <a:pt x="36100" y="120396"/>
                      <a:pt x="36005" y="104775"/>
                    </a:cubicBezTo>
                    <a:cubicBezTo>
                      <a:pt x="36005" y="101156"/>
                      <a:pt x="36481" y="98298"/>
                      <a:pt x="37052" y="94583"/>
                    </a:cubicBezTo>
                    <a:lnTo>
                      <a:pt x="132493" y="945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CDA2F3EE-4750-47EC-B096-6112E7149604}"/>
                  </a:ext>
                </a:extLst>
              </p:cNvPr>
              <p:cNvSpPr/>
              <p:nvPr/>
            </p:nvSpPr>
            <p:spPr>
              <a:xfrm>
                <a:off x="10253506" y="3614579"/>
                <a:ext cx="100546" cy="229819"/>
              </a:xfrm>
              <a:custGeom>
                <a:avLst/>
                <a:gdLst>
                  <a:gd name="connsiteX0" fmla="*/ 68961 w 66675"/>
                  <a:gd name="connsiteY0" fmla="*/ 0 h 152400"/>
                  <a:gd name="connsiteX1" fmla="*/ 37909 w 66675"/>
                  <a:gd name="connsiteY1" fmla="*/ 154400 h 152400"/>
                  <a:gd name="connsiteX2" fmla="*/ 0 w 66675"/>
                  <a:gd name="connsiteY2" fmla="*/ 154400 h 152400"/>
                  <a:gd name="connsiteX3" fmla="*/ 30956 w 66675"/>
                  <a:gd name="connsiteY3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5" h="152400">
                    <a:moveTo>
                      <a:pt x="68961" y="0"/>
                    </a:moveTo>
                    <a:lnTo>
                      <a:pt x="37909" y="154400"/>
                    </a:lnTo>
                    <a:lnTo>
                      <a:pt x="0" y="154400"/>
                    </a:lnTo>
                    <a:lnTo>
                      <a:pt x="3095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D22D98B0-64B2-49DC-8DE7-203DB016FE42}"/>
                  </a:ext>
                </a:extLst>
              </p:cNvPr>
              <p:cNvSpPr/>
              <p:nvPr/>
            </p:nvSpPr>
            <p:spPr>
              <a:xfrm>
                <a:off x="9516362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6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8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7052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7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340 w 133350"/>
                  <a:gd name="connsiteY16" fmla="*/ 162687 h 161925"/>
                  <a:gd name="connsiteX17" fmla="*/ 85820 w 133350"/>
                  <a:gd name="connsiteY17" fmla="*/ 147066 h 161925"/>
                  <a:gd name="connsiteX18" fmla="*/ 83344 w 133350"/>
                  <a:gd name="connsiteY18" fmla="*/ 159544 h 161925"/>
                  <a:gd name="connsiteX19" fmla="*/ 119729 w 133350"/>
                  <a:gd name="connsiteY19" fmla="*/ 159544 h 161925"/>
                  <a:gd name="connsiteX20" fmla="*/ 140018 w 133350"/>
                  <a:gd name="connsiteY20" fmla="*/ 58483 h 161925"/>
                  <a:gd name="connsiteX21" fmla="*/ 141542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964" y="117348"/>
                      <a:pt x="84011" y="122301"/>
                    </a:cubicBezTo>
                    <a:cubicBezTo>
                      <a:pt x="78200" y="128111"/>
                      <a:pt x="69628" y="132112"/>
                      <a:pt x="59246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1" y="88678"/>
                      <a:pt x="65437" y="88678"/>
                    </a:cubicBezTo>
                    <a:lnTo>
                      <a:pt x="96108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7052" y="6001"/>
                    </a:cubicBezTo>
                    <a:lnTo>
                      <a:pt x="30099" y="40291"/>
                    </a:lnTo>
                    <a:cubicBezTo>
                      <a:pt x="39814" y="36195"/>
                      <a:pt x="58103" y="31813"/>
                      <a:pt x="78391" y="31813"/>
                    </a:cubicBezTo>
                    <a:cubicBezTo>
                      <a:pt x="95345" y="31813"/>
                      <a:pt x="103347" y="38195"/>
                      <a:pt x="103347" y="48958"/>
                    </a:cubicBezTo>
                    <a:cubicBezTo>
                      <a:pt x="103347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340" y="162687"/>
                    </a:cubicBezTo>
                    <a:cubicBezTo>
                      <a:pt x="64770" y="162687"/>
                      <a:pt x="76962" y="156020"/>
                      <a:pt x="85820" y="147066"/>
                    </a:cubicBezTo>
                    <a:lnTo>
                      <a:pt x="83344" y="159544"/>
                    </a:lnTo>
                    <a:lnTo>
                      <a:pt x="119729" y="159544"/>
                    </a:lnTo>
                    <a:lnTo>
                      <a:pt x="140018" y="58483"/>
                    </a:lnTo>
                    <a:cubicBezTo>
                      <a:pt x="140875" y="54197"/>
                      <a:pt x="141542" y="48673"/>
                      <a:pt x="141542" y="44387"/>
                    </a:cubicBezTo>
                    <a:cubicBezTo>
                      <a:pt x="141542" y="10478"/>
                      <a:pt x="111729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75702FFD-969F-42B7-B0B1-52D23F079C8F}"/>
                  </a:ext>
                </a:extLst>
              </p:cNvPr>
              <p:cNvSpPr/>
              <p:nvPr/>
            </p:nvSpPr>
            <p:spPr>
              <a:xfrm>
                <a:off x="8719896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9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9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491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4" y="130588"/>
                      <a:pt x="56198" y="130588"/>
                    </a:cubicBezTo>
                    <a:cubicBezTo>
                      <a:pt x="77915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1BD8C39B-76E3-4EF2-9716-AAACDDF4C074}"/>
                  </a:ext>
                </a:extLst>
              </p:cNvPr>
              <p:cNvSpPr/>
              <p:nvPr/>
            </p:nvSpPr>
            <p:spPr>
              <a:xfrm>
                <a:off x="9756954" y="3521790"/>
                <a:ext cx="287273" cy="316001"/>
              </a:xfrm>
              <a:custGeom>
                <a:avLst/>
                <a:gdLst>
                  <a:gd name="connsiteX0" fmla="*/ 12859 w 190500"/>
                  <a:gd name="connsiteY0" fmla="*/ 63246 h 209550"/>
                  <a:gd name="connsiteX1" fmla="*/ 30766 w 190500"/>
                  <a:gd name="connsiteY1" fmla="*/ 63246 h 209550"/>
                  <a:gd name="connsiteX2" fmla="*/ 34671 w 190500"/>
                  <a:gd name="connsiteY2" fmla="*/ 43720 h 209550"/>
                  <a:gd name="connsiteX3" fmla="*/ 86583 w 190500"/>
                  <a:gd name="connsiteY3" fmla="*/ 0 h 209550"/>
                  <a:gd name="connsiteX4" fmla="*/ 108776 w 190500"/>
                  <a:gd name="connsiteY4" fmla="*/ 0 h 209550"/>
                  <a:gd name="connsiteX5" fmla="*/ 102394 w 190500"/>
                  <a:gd name="connsiteY5" fmla="*/ 32099 h 209550"/>
                  <a:gd name="connsiteX6" fmla="*/ 89249 w 190500"/>
                  <a:gd name="connsiteY6" fmla="*/ 32099 h 209550"/>
                  <a:gd name="connsiteX7" fmla="*/ 71819 w 190500"/>
                  <a:gd name="connsiteY7" fmla="*/ 47720 h 209550"/>
                  <a:gd name="connsiteX8" fmla="*/ 68675 w 190500"/>
                  <a:gd name="connsiteY8" fmla="*/ 63341 h 209550"/>
                  <a:gd name="connsiteX9" fmla="*/ 120396 w 190500"/>
                  <a:gd name="connsiteY9" fmla="*/ 63341 h 209550"/>
                  <a:gd name="connsiteX10" fmla="*/ 124301 w 190500"/>
                  <a:gd name="connsiteY10" fmla="*/ 43815 h 209550"/>
                  <a:gd name="connsiteX11" fmla="*/ 176213 w 190500"/>
                  <a:gd name="connsiteY11" fmla="*/ 95 h 209550"/>
                  <a:gd name="connsiteX12" fmla="*/ 198406 w 190500"/>
                  <a:gd name="connsiteY12" fmla="*/ 95 h 209550"/>
                  <a:gd name="connsiteX13" fmla="*/ 191929 w 190500"/>
                  <a:gd name="connsiteY13" fmla="*/ 32194 h 209550"/>
                  <a:gd name="connsiteX14" fmla="*/ 178880 w 190500"/>
                  <a:gd name="connsiteY14" fmla="*/ 32194 h 209550"/>
                  <a:gd name="connsiteX15" fmla="*/ 161449 w 190500"/>
                  <a:gd name="connsiteY15" fmla="*/ 47815 h 209550"/>
                  <a:gd name="connsiteX16" fmla="*/ 158305 w 190500"/>
                  <a:gd name="connsiteY16" fmla="*/ 63437 h 209550"/>
                  <a:gd name="connsiteX17" fmla="*/ 186404 w 190500"/>
                  <a:gd name="connsiteY17" fmla="*/ 63437 h 209550"/>
                  <a:gd name="connsiteX18" fmla="*/ 180594 w 190500"/>
                  <a:gd name="connsiteY18" fmla="*/ 92488 h 209550"/>
                  <a:gd name="connsiteX19" fmla="*/ 152495 w 190500"/>
                  <a:gd name="connsiteY19" fmla="*/ 92488 h 209550"/>
                  <a:gd name="connsiteX20" fmla="*/ 127635 w 190500"/>
                  <a:gd name="connsiteY20" fmla="*/ 216217 h 209550"/>
                  <a:gd name="connsiteX21" fmla="*/ 89726 w 190500"/>
                  <a:gd name="connsiteY21" fmla="*/ 216217 h 209550"/>
                  <a:gd name="connsiteX22" fmla="*/ 114491 w 190500"/>
                  <a:gd name="connsiteY22" fmla="*/ 92488 h 209550"/>
                  <a:gd name="connsiteX23" fmla="*/ 62770 w 190500"/>
                  <a:gd name="connsiteY23" fmla="*/ 92488 h 209550"/>
                  <a:gd name="connsiteX24" fmla="*/ 37910 w 190500"/>
                  <a:gd name="connsiteY24" fmla="*/ 216217 h 209550"/>
                  <a:gd name="connsiteX25" fmla="*/ 0 w 190500"/>
                  <a:gd name="connsiteY25" fmla="*/ 216217 h 209550"/>
                  <a:gd name="connsiteX26" fmla="*/ 24861 w 190500"/>
                  <a:gd name="connsiteY26" fmla="*/ 92488 h 209550"/>
                  <a:gd name="connsiteX27" fmla="*/ 6954 w 190500"/>
                  <a:gd name="connsiteY27" fmla="*/ 92488 h 209550"/>
                  <a:gd name="connsiteX28" fmla="*/ 12859 w 190500"/>
                  <a:gd name="connsiteY28" fmla="*/ 63246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90500" h="209550">
                    <a:moveTo>
                      <a:pt x="12859" y="63246"/>
                    </a:moveTo>
                    <a:lnTo>
                      <a:pt x="30766" y="63246"/>
                    </a:lnTo>
                    <a:lnTo>
                      <a:pt x="34671" y="43720"/>
                    </a:lnTo>
                    <a:cubicBezTo>
                      <a:pt x="40291" y="15907"/>
                      <a:pt x="57245" y="0"/>
                      <a:pt x="86583" y="0"/>
                    </a:cubicBezTo>
                    <a:lnTo>
                      <a:pt x="108776" y="0"/>
                    </a:lnTo>
                    <a:lnTo>
                      <a:pt x="102394" y="32099"/>
                    </a:lnTo>
                    <a:lnTo>
                      <a:pt x="89249" y="32099"/>
                    </a:lnTo>
                    <a:cubicBezTo>
                      <a:pt x="80106" y="32099"/>
                      <a:pt x="74009" y="36957"/>
                      <a:pt x="71819" y="47720"/>
                    </a:cubicBezTo>
                    <a:lnTo>
                      <a:pt x="68675" y="63341"/>
                    </a:lnTo>
                    <a:lnTo>
                      <a:pt x="120396" y="63341"/>
                    </a:lnTo>
                    <a:lnTo>
                      <a:pt x="124301" y="43815"/>
                    </a:lnTo>
                    <a:cubicBezTo>
                      <a:pt x="129826" y="16002"/>
                      <a:pt x="146876" y="95"/>
                      <a:pt x="176213" y="95"/>
                    </a:cubicBezTo>
                    <a:lnTo>
                      <a:pt x="198406" y="95"/>
                    </a:lnTo>
                    <a:lnTo>
                      <a:pt x="191929" y="32194"/>
                    </a:lnTo>
                    <a:lnTo>
                      <a:pt x="178880" y="32194"/>
                    </a:lnTo>
                    <a:cubicBezTo>
                      <a:pt x="169736" y="32194"/>
                      <a:pt x="163545" y="37052"/>
                      <a:pt x="161449" y="47815"/>
                    </a:cubicBezTo>
                    <a:lnTo>
                      <a:pt x="158305" y="63437"/>
                    </a:lnTo>
                    <a:lnTo>
                      <a:pt x="186404" y="63437"/>
                    </a:lnTo>
                    <a:lnTo>
                      <a:pt x="180594" y="92488"/>
                    </a:lnTo>
                    <a:lnTo>
                      <a:pt x="152495" y="92488"/>
                    </a:lnTo>
                    <a:lnTo>
                      <a:pt x="127635" y="216217"/>
                    </a:lnTo>
                    <a:lnTo>
                      <a:pt x="89726" y="216217"/>
                    </a:lnTo>
                    <a:lnTo>
                      <a:pt x="114491" y="92488"/>
                    </a:lnTo>
                    <a:lnTo>
                      <a:pt x="62770" y="92488"/>
                    </a:lnTo>
                    <a:lnTo>
                      <a:pt x="37910" y="216217"/>
                    </a:lnTo>
                    <a:lnTo>
                      <a:pt x="0" y="216217"/>
                    </a:lnTo>
                    <a:lnTo>
                      <a:pt x="24861" y="92488"/>
                    </a:lnTo>
                    <a:lnTo>
                      <a:pt x="6954" y="92488"/>
                    </a:lnTo>
                    <a:lnTo>
                      <a:pt x="12859" y="632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2CC71C47-EABA-47B0-8C7E-9B76E97F0ADB}"/>
                  </a:ext>
                </a:extLst>
              </p:cNvPr>
              <p:cNvSpPr/>
              <p:nvPr/>
            </p:nvSpPr>
            <p:spPr>
              <a:xfrm>
                <a:off x="8239433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5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7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6957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6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244 w 133350"/>
                  <a:gd name="connsiteY16" fmla="*/ 162687 h 161925"/>
                  <a:gd name="connsiteX17" fmla="*/ 85725 w 133350"/>
                  <a:gd name="connsiteY17" fmla="*/ 147066 h 161925"/>
                  <a:gd name="connsiteX18" fmla="*/ 83248 w 133350"/>
                  <a:gd name="connsiteY18" fmla="*/ 159544 h 161925"/>
                  <a:gd name="connsiteX19" fmla="*/ 119634 w 133350"/>
                  <a:gd name="connsiteY19" fmla="*/ 159544 h 161925"/>
                  <a:gd name="connsiteX20" fmla="*/ 139922 w 133350"/>
                  <a:gd name="connsiteY20" fmla="*/ 58483 h 161925"/>
                  <a:gd name="connsiteX21" fmla="*/ 141446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868" y="117348"/>
                      <a:pt x="84011" y="122301"/>
                    </a:cubicBezTo>
                    <a:cubicBezTo>
                      <a:pt x="78200" y="128111"/>
                      <a:pt x="69628" y="132112"/>
                      <a:pt x="59245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0" y="88678"/>
                      <a:pt x="65437" y="88678"/>
                    </a:cubicBezTo>
                    <a:lnTo>
                      <a:pt x="96107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6957" y="6001"/>
                    </a:cubicBezTo>
                    <a:lnTo>
                      <a:pt x="30099" y="40291"/>
                    </a:lnTo>
                    <a:cubicBezTo>
                      <a:pt x="39814" y="36195"/>
                      <a:pt x="58102" y="31813"/>
                      <a:pt x="78391" y="31813"/>
                    </a:cubicBezTo>
                    <a:cubicBezTo>
                      <a:pt x="95345" y="31813"/>
                      <a:pt x="103346" y="38195"/>
                      <a:pt x="103346" y="48958"/>
                    </a:cubicBezTo>
                    <a:cubicBezTo>
                      <a:pt x="103346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244" y="162687"/>
                    </a:cubicBezTo>
                    <a:cubicBezTo>
                      <a:pt x="64675" y="162687"/>
                      <a:pt x="76867" y="156020"/>
                      <a:pt x="85725" y="147066"/>
                    </a:cubicBezTo>
                    <a:lnTo>
                      <a:pt x="83248" y="159544"/>
                    </a:lnTo>
                    <a:lnTo>
                      <a:pt x="119634" y="159544"/>
                    </a:lnTo>
                    <a:lnTo>
                      <a:pt x="139922" y="58483"/>
                    </a:lnTo>
                    <a:cubicBezTo>
                      <a:pt x="140779" y="54197"/>
                      <a:pt x="141446" y="48673"/>
                      <a:pt x="141446" y="44387"/>
                    </a:cubicBezTo>
                    <a:cubicBezTo>
                      <a:pt x="141541" y="10478"/>
                      <a:pt x="111728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E085EAE9-5A74-4BF9-841D-3157ACDF06ED}"/>
                  </a:ext>
                </a:extLst>
              </p:cNvPr>
              <p:cNvSpPr/>
              <p:nvPr/>
            </p:nvSpPr>
            <p:spPr>
              <a:xfrm>
                <a:off x="7825183" y="3521790"/>
                <a:ext cx="301637" cy="316001"/>
              </a:xfrm>
              <a:custGeom>
                <a:avLst/>
                <a:gdLst>
                  <a:gd name="connsiteX0" fmla="*/ 65341 w 200025"/>
                  <a:gd name="connsiteY0" fmla="*/ 92012 h 209550"/>
                  <a:gd name="connsiteX1" fmla="*/ 154210 w 200025"/>
                  <a:gd name="connsiteY1" fmla="*/ 0 h 209550"/>
                  <a:gd name="connsiteX2" fmla="*/ 205835 w 200025"/>
                  <a:gd name="connsiteY2" fmla="*/ 0 h 209550"/>
                  <a:gd name="connsiteX3" fmla="*/ 118300 w 200025"/>
                  <a:gd name="connsiteY3" fmla="*/ 86296 h 209550"/>
                  <a:gd name="connsiteX4" fmla="*/ 167450 w 200025"/>
                  <a:gd name="connsiteY4" fmla="*/ 215932 h 209550"/>
                  <a:gd name="connsiteX5" fmla="*/ 121920 w 200025"/>
                  <a:gd name="connsiteY5" fmla="*/ 215932 h 209550"/>
                  <a:gd name="connsiteX6" fmla="*/ 87344 w 200025"/>
                  <a:gd name="connsiteY6" fmla="*/ 116681 h 209550"/>
                  <a:gd name="connsiteX7" fmla="*/ 53816 w 200025"/>
                  <a:gd name="connsiteY7" fmla="*/ 149828 h 209550"/>
                  <a:gd name="connsiteX8" fmla="*/ 40481 w 200025"/>
                  <a:gd name="connsiteY8" fmla="*/ 215932 h 209550"/>
                  <a:gd name="connsiteX9" fmla="*/ 0 w 200025"/>
                  <a:gd name="connsiteY9" fmla="*/ 215932 h 209550"/>
                  <a:gd name="connsiteX10" fmla="*/ 43434 w 200025"/>
                  <a:gd name="connsiteY10" fmla="*/ 0 h 209550"/>
                  <a:gd name="connsiteX11" fmla="*/ 83820 w 200025"/>
                  <a:gd name="connsiteY1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09550">
                    <a:moveTo>
                      <a:pt x="65341" y="92012"/>
                    </a:moveTo>
                    <a:lnTo>
                      <a:pt x="154210" y="0"/>
                    </a:lnTo>
                    <a:lnTo>
                      <a:pt x="205835" y="0"/>
                    </a:lnTo>
                    <a:lnTo>
                      <a:pt x="118300" y="86296"/>
                    </a:lnTo>
                    <a:lnTo>
                      <a:pt x="167450" y="215932"/>
                    </a:lnTo>
                    <a:lnTo>
                      <a:pt x="121920" y="215932"/>
                    </a:lnTo>
                    <a:lnTo>
                      <a:pt x="87344" y="116681"/>
                    </a:lnTo>
                    <a:lnTo>
                      <a:pt x="53816" y="149828"/>
                    </a:lnTo>
                    <a:lnTo>
                      <a:pt x="40481" y="215932"/>
                    </a:lnTo>
                    <a:lnTo>
                      <a:pt x="0" y="215932"/>
                    </a:lnTo>
                    <a:lnTo>
                      <a:pt x="43434" y="0"/>
                    </a:lnTo>
                    <a:lnTo>
                      <a:pt x="8382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17A0FE35-181E-4324-AF41-D4BD62564F23}"/>
                  </a:ext>
                </a:extLst>
              </p:cNvPr>
              <p:cNvSpPr/>
              <p:nvPr/>
            </p:nvSpPr>
            <p:spPr>
              <a:xfrm>
                <a:off x="9182119" y="3521790"/>
                <a:ext cx="344728" cy="316001"/>
              </a:xfrm>
              <a:custGeom>
                <a:avLst/>
                <a:gdLst>
                  <a:gd name="connsiteX0" fmla="*/ 43434 w 228600"/>
                  <a:gd name="connsiteY0" fmla="*/ 0 h 209550"/>
                  <a:gd name="connsiteX1" fmla="*/ 80581 w 228600"/>
                  <a:gd name="connsiteY1" fmla="*/ 0 h 209550"/>
                  <a:gd name="connsiteX2" fmla="*/ 111442 w 228600"/>
                  <a:gd name="connsiteY2" fmla="*/ 116110 h 209550"/>
                  <a:gd name="connsiteX3" fmla="*/ 190214 w 228600"/>
                  <a:gd name="connsiteY3" fmla="*/ 0 h 209550"/>
                  <a:gd name="connsiteX4" fmla="*/ 228885 w 228600"/>
                  <a:gd name="connsiteY4" fmla="*/ 0 h 209550"/>
                  <a:gd name="connsiteX5" fmla="*/ 185547 w 228600"/>
                  <a:gd name="connsiteY5" fmla="*/ 216027 h 209550"/>
                  <a:gd name="connsiteX6" fmla="*/ 146018 w 228600"/>
                  <a:gd name="connsiteY6" fmla="*/ 216027 h 209550"/>
                  <a:gd name="connsiteX7" fmla="*/ 171450 w 228600"/>
                  <a:gd name="connsiteY7" fmla="*/ 89154 h 209550"/>
                  <a:gd name="connsiteX8" fmla="*/ 116967 w 228600"/>
                  <a:gd name="connsiteY8" fmla="*/ 169259 h 209550"/>
                  <a:gd name="connsiteX9" fmla="*/ 89725 w 228600"/>
                  <a:gd name="connsiteY9" fmla="*/ 169259 h 209550"/>
                  <a:gd name="connsiteX10" fmla="*/ 65246 w 228600"/>
                  <a:gd name="connsiteY10" fmla="*/ 88297 h 209550"/>
                  <a:gd name="connsiteX11" fmla="*/ 39624 w 228600"/>
                  <a:gd name="connsiteY11" fmla="*/ 216027 h 209550"/>
                  <a:gd name="connsiteX12" fmla="*/ 0 w 228600"/>
                  <a:gd name="connsiteY12" fmla="*/ 216027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209550">
                    <a:moveTo>
                      <a:pt x="43434" y="0"/>
                    </a:moveTo>
                    <a:lnTo>
                      <a:pt x="80581" y="0"/>
                    </a:lnTo>
                    <a:lnTo>
                      <a:pt x="111442" y="116110"/>
                    </a:lnTo>
                    <a:lnTo>
                      <a:pt x="190214" y="0"/>
                    </a:lnTo>
                    <a:lnTo>
                      <a:pt x="228885" y="0"/>
                    </a:lnTo>
                    <a:lnTo>
                      <a:pt x="185547" y="216027"/>
                    </a:lnTo>
                    <a:lnTo>
                      <a:pt x="146018" y="216027"/>
                    </a:lnTo>
                    <a:lnTo>
                      <a:pt x="171450" y="89154"/>
                    </a:lnTo>
                    <a:lnTo>
                      <a:pt x="116967" y="169259"/>
                    </a:lnTo>
                    <a:lnTo>
                      <a:pt x="89725" y="169259"/>
                    </a:lnTo>
                    <a:lnTo>
                      <a:pt x="65246" y="88297"/>
                    </a:lnTo>
                    <a:lnTo>
                      <a:pt x="39624" y="216027"/>
                    </a:lnTo>
                    <a:lnTo>
                      <a:pt x="0" y="21602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75E8245-26FC-4FA8-8049-493865DA2DE7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25" name="Linientext 05,60">
              <a:extLst>
                <a:ext uri="{FF2B5EF4-FFF2-40B4-BE49-F238E27FC236}">
                  <a16:creationId xmlns:a16="http://schemas.microsoft.com/office/drawing/2014/main" id="{311D7C49-F875-499B-A4B6-810FE518147C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6" name="Hilfslinie 12,10">
              <a:extLst>
                <a:ext uri="{FF2B5EF4-FFF2-40B4-BE49-F238E27FC236}">
                  <a16:creationId xmlns:a16="http://schemas.microsoft.com/office/drawing/2014/main" id="{6312C87C-8281-4259-9601-EC4810737F3F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Linientext 12,10">
              <a:extLst>
                <a:ext uri="{FF2B5EF4-FFF2-40B4-BE49-F238E27FC236}">
                  <a16:creationId xmlns:a16="http://schemas.microsoft.com/office/drawing/2014/main" id="{268522FB-F84A-4569-913E-1902A79065DD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28" name="Linientext 13,95">
              <a:extLst>
                <a:ext uri="{FF2B5EF4-FFF2-40B4-BE49-F238E27FC236}">
                  <a16:creationId xmlns:a16="http://schemas.microsoft.com/office/drawing/2014/main" id="{595CC3AB-6897-4F53-8502-981FA2B11503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45" name="Hilfslinie 13,95">
              <a:extLst>
                <a:ext uri="{FF2B5EF4-FFF2-40B4-BE49-F238E27FC236}">
                  <a16:creationId xmlns:a16="http://schemas.microsoft.com/office/drawing/2014/main" id="{B7B261A2-E552-4214-AE1E-A8155D4D3DB2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Hilfslinie 12,10">
              <a:extLst>
                <a:ext uri="{FF2B5EF4-FFF2-40B4-BE49-F238E27FC236}">
                  <a16:creationId xmlns:a16="http://schemas.microsoft.com/office/drawing/2014/main" id="{2F821E80-7292-4EEA-979D-37025719A92D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Linientext 12,10">
              <a:extLst>
                <a:ext uri="{FF2B5EF4-FFF2-40B4-BE49-F238E27FC236}">
                  <a16:creationId xmlns:a16="http://schemas.microsoft.com/office/drawing/2014/main" id="{8291AF66-CFE9-4ACC-85FA-0887F7A593A4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48" name="Linientext 13,95">
              <a:extLst>
                <a:ext uri="{FF2B5EF4-FFF2-40B4-BE49-F238E27FC236}">
                  <a16:creationId xmlns:a16="http://schemas.microsoft.com/office/drawing/2014/main" id="{6D27FDA1-E7F1-4A1E-925F-F4E99FD288DD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49" name="Hilfslinie 13,95">
              <a:extLst>
                <a:ext uri="{FF2B5EF4-FFF2-40B4-BE49-F238E27FC236}">
                  <a16:creationId xmlns:a16="http://schemas.microsoft.com/office/drawing/2014/main" id="{1EAF623C-5220-4D70-8A0B-A3B4A5FFDE96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Linientext 05,60">
              <a:extLst>
                <a:ext uri="{FF2B5EF4-FFF2-40B4-BE49-F238E27FC236}">
                  <a16:creationId xmlns:a16="http://schemas.microsoft.com/office/drawing/2014/main" id="{C7276C5C-3882-4C33-AA09-D462F5CC64D5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1" name="Linientext 05,60">
              <a:extLst>
                <a:ext uri="{FF2B5EF4-FFF2-40B4-BE49-F238E27FC236}">
                  <a16:creationId xmlns:a16="http://schemas.microsoft.com/office/drawing/2014/main" id="{E1444719-932B-4500-AFAB-E22784E43E3C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2" name="Linientext 05,60">
              <a:extLst>
                <a:ext uri="{FF2B5EF4-FFF2-40B4-BE49-F238E27FC236}">
                  <a16:creationId xmlns:a16="http://schemas.microsoft.com/office/drawing/2014/main" id="{28B40479-3215-48FB-AE40-18B7AB003416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3" name="Linientext 05,60">
              <a:extLst>
                <a:ext uri="{FF2B5EF4-FFF2-40B4-BE49-F238E27FC236}">
                  <a16:creationId xmlns:a16="http://schemas.microsoft.com/office/drawing/2014/main" id="{B88D23CD-7BB6-43A3-8998-617EED77FB4C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4" name="Hilfslinie 05,60">
              <a:extLst>
                <a:ext uri="{FF2B5EF4-FFF2-40B4-BE49-F238E27FC236}">
                  <a16:creationId xmlns:a16="http://schemas.microsoft.com/office/drawing/2014/main" id="{38D770D0-B654-4711-B6E1-0200124A1ED7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Hilfslinie 05,60">
              <a:extLst>
                <a:ext uri="{FF2B5EF4-FFF2-40B4-BE49-F238E27FC236}">
                  <a16:creationId xmlns:a16="http://schemas.microsoft.com/office/drawing/2014/main" id="{053A99D0-E49E-420D-9DD8-7269E29E4C68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Hilfslinie 05,60">
              <a:extLst>
                <a:ext uri="{FF2B5EF4-FFF2-40B4-BE49-F238E27FC236}">
                  <a16:creationId xmlns:a16="http://schemas.microsoft.com/office/drawing/2014/main" id="{BDB726F9-E182-4F92-AD84-922FC479ED4E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Hilfslinie 05,60">
              <a:extLst>
                <a:ext uri="{FF2B5EF4-FFF2-40B4-BE49-F238E27FC236}">
                  <a16:creationId xmlns:a16="http://schemas.microsoft.com/office/drawing/2014/main" id="{4801B2F9-6C3C-458B-931B-0EE7EBA8BE1F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Hilfslinie 05,60">
              <a:extLst>
                <a:ext uri="{FF2B5EF4-FFF2-40B4-BE49-F238E27FC236}">
                  <a16:creationId xmlns:a16="http://schemas.microsoft.com/office/drawing/2014/main" id="{246290AA-6536-4D48-8F25-8B205D98D063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Linientext 05,60">
              <a:extLst>
                <a:ext uri="{FF2B5EF4-FFF2-40B4-BE49-F238E27FC236}">
                  <a16:creationId xmlns:a16="http://schemas.microsoft.com/office/drawing/2014/main" id="{B2EE93DB-24EA-46F2-A205-14A3C713A4AC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0" name="Hilfslinie 05,60">
              <a:extLst>
                <a:ext uri="{FF2B5EF4-FFF2-40B4-BE49-F238E27FC236}">
                  <a16:creationId xmlns:a16="http://schemas.microsoft.com/office/drawing/2014/main" id="{F85232AB-71D9-416F-8177-D4C9A2D85BA5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8681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A1B0686-7F3E-4282-8088-A02D7E626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512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A1B0686-7F3E-4282-8088-A02D7E626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528D81-E54E-4B06-9D3A-CC1C83CD28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1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B5A4979-EAA9-204F-8D1D-26260CD06C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268" y="770901"/>
            <a:ext cx="5577682" cy="1218795"/>
          </a:xfrm>
        </p:spPr>
        <p:txBody>
          <a:bodyPr lIns="0" tIns="0" rIns="0" bIns="0" anchor="b"/>
          <a:lstStyle>
            <a:lvl1pPr algn="l">
              <a:defRPr sz="4400" b="1" i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err="1"/>
              <a:t>TitLE</a:t>
            </a:r>
            <a:r>
              <a:rPr lang="en-US" dirty="0"/>
              <a:t>, Arial, </a:t>
            </a:r>
            <a:br>
              <a:rPr lang="en-US" dirty="0"/>
            </a:br>
            <a:r>
              <a:rPr lang="en-US" dirty="0"/>
              <a:t>44 </a:t>
            </a:r>
            <a:r>
              <a:rPr lang="en-US" dirty="0" err="1"/>
              <a:t>pt</a:t>
            </a:r>
            <a:r>
              <a:rPr lang="en-US" dirty="0"/>
              <a:t>, BOLD, italic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9A28CC2-AB54-8049-AA13-7EF80A6E2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6268" y="2493867"/>
            <a:ext cx="5577682" cy="30777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buNone/>
              <a:defRPr sz="20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of the presentation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22FC953-9B25-4A37-9BD5-6367FCB96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2894458"/>
            <a:ext cx="5577338" cy="246221"/>
          </a:xfrm>
        </p:spPr>
        <p:txBody>
          <a:bodyPr wrap="square" anchor="t">
            <a:spAutoFit/>
          </a:bodyPr>
          <a:lstStyle>
            <a:lvl1pPr>
              <a:defRPr sz="1600"/>
            </a:lvl1pPr>
          </a:lstStyle>
          <a:p>
            <a:pPr lvl="0"/>
            <a:r>
              <a:rPr lang="en-US" dirty="0"/>
              <a:t>Author | Date, Arial, 1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82750286-BCF2-49C1-AF08-6A6FBB0B1C0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944720" y="0"/>
            <a:ext cx="8247280" cy="6858000"/>
          </a:xfrm>
        </p:spPr>
        <p:txBody>
          <a:bodyPr lIns="108000" tIns="108000" rIns="108000" bIns="108000"/>
          <a:lstStyle>
            <a:lvl1pPr algn="r">
              <a:defRPr/>
            </a:lvl1pPr>
          </a:lstStyle>
          <a:p>
            <a:r>
              <a:rPr lang="en-US" dirty="0"/>
              <a:t>Click on the icon to insert an image </a:t>
            </a:r>
            <a:br>
              <a:rPr lang="en-US" dirty="0"/>
            </a:br>
            <a:endParaRPr lang="en-US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B030734B-66C8-4E8D-8370-9BA1C260B3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22273" t="26674" r="22363" b="27949"/>
          <a:stretch/>
        </p:blipFill>
        <p:spPr>
          <a:xfrm>
            <a:off x="0" y="3399709"/>
            <a:ext cx="3539490" cy="2894411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1DE6B7D0-B5F9-481C-8BDA-6885E8F03875}"/>
              </a:ext>
            </a:extLst>
          </p:cNvPr>
          <p:cNvGrpSpPr/>
          <p:nvPr userDrawn="1"/>
        </p:nvGrpSpPr>
        <p:grpSpPr>
          <a:xfrm>
            <a:off x="483789" y="4745072"/>
            <a:ext cx="2576929" cy="677457"/>
            <a:chOff x="9237264" y="1690722"/>
            <a:chExt cx="2576929" cy="677457"/>
          </a:xfrm>
        </p:grpSpPr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8B665049-C4CA-407B-8F66-7081F2996F58}"/>
                </a:ext>
              </a:extLst>
            </p:cNvPr>
            <p:cNvSpPr/>
            <p:nvPr/>
          </p:nvSpPr>
          <p:spPr>
            <a:xfrm>
              <a:off x="10167480" y="2197076"/>
              <a:ext cx="1543732" cy="171103"/>
            </a:xfrm>
            <a:custGeom>
              <a:avLst/>
              <a:gdLst>
                <a:gd name="connsiteX0" fmla="*/ 3869817 w 3867150"/>
                <a:gd name="connsiteY0" fmla="*/ 118300 h 428625"/>
                <a:gd name="connsiteX1" fmla="*/ 3787617 w 3867150"/>
                <a:gd name="connsiteY1" fmla="*/ 87916 h 428625"/>
                <a:gd name="connsiteX2" fmla="*/ 3705416 w 3867150"/>
                <a:gd name="connsiteY2" fmla="*/ 116396 h 428625"/>
                <a:gd name="connsiteX3" fmla="*/ 3680270 w 3867150"/>
                <a:gd name="connsiteY3" fmla="*/ 178213 h 428625"/>
                <a:gd name="connsiteX4" fmla="*/ 3739610 w 3867150"/>
                <a:gd name="connsiteY4" fmla="*/ 234315 h 428625"/>
                <a:gd name="connsiteX5" fmla="*/ 3771995 w 3867150"/>
                <a:gd name="connsiteY5" fmla="*/ 239554 h 428625"/>
                <a:gd name="connsiteX6" fmla="*/ 3795332 w 3867150"/>
                <a:gd name="connsiteY6" fmla="*/ 260032 h 428625"/>
                <a:gd name="connsiteX7" fmla="*/ 3744944 w 3867150"/>
                <a:gd name="connsiteY7" fmla="*/ 290894 h 428625"/>
                <a:gd name="connsiteX8" fmla="*/ 3687985 w 3867150"/>
                <a:gd name="connsiteY8" fmla="*/ 267081 h 428625"/>
                <a:gd name="connsiteX9" fmla="*/ 3645694 w 3867150"/>
                <a:gd name="connsiteY9" fmla="*/ 304133 h 428625"/>
                <a:gd name="connsiteX10" fmla="*/ 3741135 w 3867150"/>
                <a:gd name="connsiteY10" fmla="*/ 341186 h 428625"/>
                <a:gd name="connsiteX11" fmla="*/ 3827145 w 3867150"/>
                <a:gd name="connsiteY11" fmla="*/ 314134 h 428625"/>
                <a:gd name="connsiteX12" fmla="*/ 3853720 w 3867150"/>
                <a:gd name="connsiteY12" fmla="*/ 254222 h 428625"/>
                <a:gd name="connsiteX13" fmla="*/ 3793903 w 3867150"/>
                <a:gd name="connsiteY13" fmla="*/ 190024 h 428625"/>
                <a:gd name="connsiteX14" fmla="*/ 3761994 w 3867150"/>
                <a:gd name="connsiteY14" fmla="*/ 184785 h 428625"/>
                <a:gd name="connsiteX15" fmla="*/ 3739134 w 3867150"/>
                <a:gd name="connsiteY15" fmla="*/ 166211 h 428625"/>
                <a:gd name="connsiteX16" fmla="*/ 3782377 w 3867150"/>
                <a:gd name="connsiteY16" fmla="*/ 136303 h 428625"/>
                <a:gd name="connsiteX17" fmla="*/ 3829431 w 3867150"/>
                <a:gd name="connsiteY17" fmla="*/ 153924 h 428625"/>
                <a:gd name="connsiteX18" fmla="*/ 3869817 w 3867150"/>
                <a:gd name="connsiteY18" fmla="*/ 118300 h 428625"/>
                <a:gd name="connsiteX19" fmla="*/ 3661220 w 3867150"/>
                <a:gd name="connsiteY19" fmla="*/ 122111 h 428625"/>
                <a:gd name="connsiteX20" fmla="*/ 3588544 w 3867150"/>
                <a:gd name="connsiteY20" fmla="*/ 87916 h 428625"/>
                <a:gd name="connsiteX21" fmla="*/ 3462623 w 3867150"/>
                <a:gd name="connsiteY21" fmla="*/ 214313 h 428625"/>
                <a:gd name="connsiteX22" fmla="*/ 3458813 w 3867150"/>
                <a:gd name="connsiteY22" fmla="*/ 252794 h 428625"/>
                <a:gd name="connsiteX23" fmla="*/ 3547586 w 3867150"/>
                <a:gd name="connsiteY23" fmla="*/ 341186 h 428625"/>
                <a:gd name="connsiteX24" fmla="*/ 3629311 w 3867150"/>
                <a:gd name="connsiteY24" fmla="*/ 309848 h 428625"/>
                <a:gd name="connsiteX25" fmla="*/ 3596545 w 3867150"/>
                <a:gd name="connsiteY25" fmla="*/ 267557 h 428625"/>
                <a:gd name="connsiteX26" fmla="*/ 3553301 w 3867150"/>
                <a:gd name="connsiteY26" fmla="*/ 288512 h 428625"/>
                <a:gd name="connsiteX27" fmla="*/ 3518154 w 3867150"/>
                <a:gd name="connsiteY27" fmla="*/ 246221 h 428625"/>
                <a:gd name="connsiteX28" fmla="*/ 3521488 w 3867150"/>
                <a:gd name="connsiteY28" fmla="*/ 214313 h 428625"/>
                <a:gd name="connsiteX29" fmla="*/ 3547586 w 3867150"/>
                <a:gd name="connsiteY29" fmla="*/ 156305 h 428625"/>
                <a:gd name="connsiteX30" fmla="*/ 3582734 w 3867150"/>
                <a:gd name="connsiteY30" fmla="*/ 140589 h 428625"/>
                <a:gd name="connsiteX31" fmla="*/ 3616928 w 3867150"/>
                <a:gd name="connsiteY31" fmla="*/ 161068 h 428625"/>
                <a:gd name="connsiteX32" fmla="*/ 3661220 w 3867150"/>
                <a:gd name="connsiteY32" fmla="*/ 122111 h 428625"/>
                <a:gd name="connsiteX33" fmla="*/ 3456813 w 3867150"/>
                <a:gd name="connsiteY33" fmla="*/ 953 h 428625"/>
                <a:gd name="connsiteX34" fmla="*/ 3395948 w 3867150"/>
                <a:gd name="connsiteY34" fmla="*/ 953 h 428625"/>
                <a:gd name="connsiteX35" fmla="*/ 3386423 w 3867150"/>
                <a:gd name="connsiteY35" fmla="*/ 49816 h 428625"/>
                <a:gd name="connsiteX36" fmla="*/ 3446812 w 3867150"/>
                <a:gd name="connsiteY36" fmla="*/ 49816 h 428625"/>
                <a:gd name="connsiteX37" fmla="*/ 3456813 w 3867150"/>
                <a:gd name="connsiteY37" fmla="*/ 953 h 428625"/>
                <a:gd name="connsiteX38" fmla="*/ 3436906 w 3867150"/>
                <a:gd name="connsiteY38" fmla="*/ 98393 h 428625"/>
                <a:gd name="connsiteX39" fmla="*/ 3377946 w 3867150"/>
                <a:gd name="connsiteY39" fmla="*/ 98393 h 428625"/>
                <a:gd name="connsiteX40" fmla="*/ 3329940 w 3867150"/>
                <a:gd name="connsiteY40" fmla="*/ 338423 h 428625"/>
                <a:gd name="connsiteX41" fmla="*/ 3388900 w 3867150"/>
                <a:gd name="connsiteY41" fmla="*/ 338423 h 428625"/>
                <a:gd name="connsiteX42" fmla="*/ 3436906 w 3867150"/>
                <a:gd name="connsiteY42" fmla="*/ 98393 h 428625"/>
                <a:gd name="connsiteX43" fmla="*/ 3328035 w 3867150"/>
                <a:gd name="connsiteY43" fmla="*/ 98393 h 428625"/>
                <a:gd name="connsiteX44" fmla="*/ 3287173 w 3867150"/>
                <a:gd name="connsiteY44" fmla="*/ 98393 h 428625"/>
                <a:gd name="connsiteX45" fmla="*/ 3301937 w 3867150"/>
                <a:gd name="connsiteY45" fmla="*/ 24289 h 428625"/>
                <a:gd name="connsiteX46" fmla="*/ 3242977 w 3867150"/>
                <a:gd name="connsiteY46" fmla="*/ 24289 h 428625"/>
                <a:gd name="connsiteX47" fmla="*/ 3228213 w 3867150"/>
                <a:gd name="connsiteY47" fmla="*/ 98393 h 428625"/>
                <a:gd name="connsiteX48" fmla="*/ 3203067 w 3867150"/>
                <a:gd name="connsiteY48" fmla="*/ 98393 h 428625"/>
                <a:gd name="connsiteX49" fmla="*/ 3194019 w 3867150"/>
                <a:gd name="connsiteY49" fmla="*/ 142970 h 428625"/>
                <a:gd name="connsiteX50" fmla="*/ 3219164 w 3867150"/>
                <a:gd name="connsiteY50" fmla="*/ 142970 h 428625"/>
                <a:gd name="connsiteX51" fmla="*/ 3194971 w 3867150"/>
                <a:gd name="connsiteY51" fmla="*/ 264223 h 428625"/>
                <a:gd name="connsiteX52" fmla="*/ 3193066 w 3867150"/>
                <a:gd name="connsiteY52" fmla="*/ 284702 h 428625"/>
                <a:gd name="connsiteX53" fmla="*/ 3252883 w 3867150"/>
                <a:gd name="connsiteY53" fmla="*/ 338328 h 428625"/>
                <a:gd name="connsiteX54" fmla="*/ 3283268 w 3867150"/>
                <a:gd name="connsiteY54" fmla="*/ 338328 h 428625"/>
                <a:gd name="connsiteX55" fmla="*/ 3293269 w 3867150"/>
                <a:gd name="connsiteY55" fmla="*/ 288988 h 428625"/>
                <a:gd name="connsiteX56" fmla="*/ 3271933 w 3867150"/>
                <a:gd name="connsiteY56" fmla="*/ 288988 h 428625"/>
                <a:gd name="connsiteX57" fmla="*/ 3252883 w 3867150"/>
                <a:gd name="connsiteY57" fmla="*/ 273748 h 428625"/>
                <a:gd name="connsiteX58" fmla="*/ 3253836 w 3867150"/>
                <a:gd name="connsiteY58" fmla="*/ 264700 h 428625"/>
                <a:gd name="connsiteX59" fmla="*/ 3278029 w 3867150"/>
                <a:gd name="connsiteY59" fmla="*/ 142970 h 428625"/>
                <a:gd name="connsiteX60" fmla="*/ 3318891 w 3867150"/>
                <a:gd name="connsiteY60" fmla="*/ 142970 h 428625"/>
                <a:gd name="connsiteX61" fmla="*/ 3328035 w 3867150"/>
                <a:gd name="connsiteY61" fmla="*/ 98393 h 428625"/>
                <a:gd name="connsiteX62" fmla="*/ 3163062 w 3867150"/>
                <a:gd name="connsiteY62" fmla="*/ 118300 h 428625"/>
                <a:gd name="connsiteX63" fmla="*/ 3080861 w 3867150"/>
                <a:gd name="connsiteY63" fmla="*/ 87916 h 428625"/>
                <a:gd name="connsiteX64" fmla="*/ 2998565 w 3867150"/>
                <a:gd name="connsiteY64" fmla="*/ 116396 h 428625"/>
                <a:gd name="connsiteX65" fmla="*/ 2973420 w 3867150"/>
                <a:gd name="connsiteY65" fmla="*/ 178213 h 428625"/>
                <a:gd name="connsiteX66" fmla="*/ 3032760 w 3867150"/>
                <a:gd name="connsiteY66" fmla="*/ 234315 h 428625"/>
                <a:gd name="connsiteX67" fmla="*/ 3065145 w 3867150"/>
                <a:gd name="connsiteY67" fmla="*/ 239554 h 428625"/>
                <a:gd name="connsiteX68" fmla="*/ 3088481 w 3867150"/>
                <a:gd name="connsiteY68" fmla="*/ 260032 h 428625"/>
                <a:gd name="connsiteX69" fmla="*/ 3037999 w 3867150"/>
                <a:gd name="connsiteY69" fmla="*/ 290894 h 428625"/>
                <a:gd name="connsiteX70" fmla="*/ 2981039 w 3867150"/>
                <a:gd name="connsiteY70" fmla="*/ 267081 h 428625"/>
                <a:gd name="connsiteX71" fmla="*/ 2938748 w 3867150"/>
                <a:gd name="connsiteY71" fmla="*/ 304133 h 428625"/>
                <a:gd name="connsiteX72" fmla="*/ 3034189 w 3867150"/>
                <a:gd name="connsiteY72" fmla="*/ 341186 h 428625"/>
                <a:gd name="connsiteX73" fmla="*/ 3120295 w 3867150"/>
                <a:gd name="connsiteY73" fmla="*/ 314134 h 428625"/>
                <a:gd name="connsiteX74" fmla="*/ 3146870 w 3867150"/>
                <a:gd name="connsiteY74" fmla="*/ 254222 h 428625"/>
                <a:gd name="connsiteX75" fmla="*/ 3087053 w 3867150"/>
                <a:gd name="connsiteY75" fmla="*/ 190024 h 428625"/>
                <a:gd name="connsiteX76" fmla="*/ 3055144 w 3867150"/>
                <a:gd name="connsiteY76" fmla="*/ 184785 h 428625"/>
                <a:gd name="connsiteX77" fmla="*/ 3032284 w 3867150"/>
                <a:gd name="connsiteY77" fmla="*/ 166211 h 428625"/>
                <a:gd name="connsiteX78" fmla="*/ 3075623 w 3867150"/>
                <a:gd name="connsiteY78" fmla="*/ 136303 h 428625"/>
                <a:gd name="connsiteX79" fmla="*/ 3122676 w 3867150"/>
                <a:gd name="connsiteY79" fmla="*/ 153924 h 428625"/>
                <a:gd name="connsiteX80" fmla="*/ 3163062 w 3867150"/>
                <a:gd name="connsiteY80" fmla="*/ 118300 h 428625"/>
                <a:gd name="connsiteX81" fmla="*/ 2858453 w 3867150"/>
                <a:gd name="connsiteY81" fmla="*/ 231934 h 428625"/>
                <a:gd name="connsiteX82" fmla="*/ 2855595 w 3867150"/>
                <a:gd name="connsiteY82" fmla="*/ 246697 h 428625"/>
                <a:gd name="connsiteX83" fmla="*/ 2840831 w 3867150"/>
                <a:gd name="connsiteY83" fmla="*/ 278035 h 428625"/>
                <a:gd name="connsiteX84" fmla="*/ 2802350 w 3867150"/>
                <a:gd name="connsiteY84" fmla="*/ 293275 h 428625"/>
                <a:gd name="connsiteX85" fmla="*/ 2770918 w 3867150"/>
                <a:gd name="connsiteY85" fmla="*/ 269938 h 428625"/>
                <a:gd name="connsiteX86" fmla="*/ 2813209 w 3867150"/>
                <a:gd name="connsiteY86" fmla="*/ 231838 h 428625"/>
                <a:gd name="connsiteX87" fmla="*/ 2858453 w 3867150"/>
                <a:gd name="connsiteY87" fmla="*/ 231838 h 428625"/>
                <a:gd name="connsiteX88" fmla="*/ 2930652 w 3867150"/>
                <a:gd name="connsiteY88" fmla="*/ 156877 h 428625"/>
                <a:gd name="connsiteX89" fmla="*/ 2842736 w 3867150"/>
                <a:gd name="connsiteY89" fmla="*/ 88011 h 428625"/>
                <a:gd name="connsiteX90" fmla="*/ 2751011 w 3867150"/>
                <a:gd name="connsiteY90" fmla="*/ 121253 h 428625"/>
                <a:gd name="connsiteX91" fmla="*/ 2781395 w 3867150"/>
                <a:gd name="connsiteY91" fmla="*/ 160687 h 428625"/>
                <a:gd name="connsiteX92" fmla="*/ 2834640 w 3867150"/>
                <a:gd name="connsiteY92" fmla="*/ 137350 h 428625"/>
                <a:gd name="connsiteX93" fmla="*/ 2871311 w 3867150"/>
                <a:gd name="connsiteY93" fmla="*/ 164021 h 428625"/>
                <a:gd name="connsiteX94" fmla="*/ 2869883 w 3867150"/>
                <a:gd name="connsiteY94" fmla="*/ 176879 h 428625"/>
                <a:gd name="connsiteX95" fmla="*/ 2866549 w 3867150"/>
                <a:gd name="connsiteY95" fmla="*/ 191643 h 428625"/>
                <a:gd name="connsiteX96" fmla="*/ 2807589 w 3867150"/>
                <a:gd name="connsiteY96" fmla="*/ 191643 h 428625"/>
                <a:gd name="connsiteX97" fmla="*/ 2735390 w 3867150"/>
                <a:gd name="connsiteY97" fmla="*/ 217265 h 428625"/>
                <a:gd name="connsiteX98" fmla="*/ 2713101 w 3867150"/>
                <a:gd name="connsiteY98" fmla="*/ 275749 h 428625"/>
                <a:gd name="connsiteX99" fmla="*/ 2783872 w 3867150"/>
                <a:gd name="connsiteY99" fmla="*/ 340805 h 428625"/>
                <a:gd name="connsiteX100" fmla="*/ 2843784 w 3867150"/>
                <a:gd name="connsiteY100" fmla="*/ 316611 h 428625"/>
                <a:gd name="connsiteX101" fmla="*/ 2839498 w 3867150"/>
                <a:gd name="connsiteY101" fmla="*/ 338423 h 428625"/>
                <a:gd name="connsiteX102" fmla="*/ 2896076 w 3867150"/>
                <a:gd name="connsiteY102" fmla="*/ 338423 h 428625"/>
                <a:gd name="connsiteX103" fmla="*/ 2928366 w 3867150"/>
                <a:gd name="connsiteY103" fmla="*/ 178784 h 428625"/>
                <a:gd name="connsiteX104" fmla="*/ 2930652 w 3867150"/>
                <a:gd name="connsiteY104" fmla="*/ 156877 h 428625"/>
                <a:gd name="connsiteX105" fmla="*/ 2697766 w 3867150"/>
                <a:gd name="connsiteY105" fmla="*/ 0 h 428625"/>
                <a:gd name="connsiteX106" fmla="*/ 2638806 w 3867150"/>
                <a:gd name="connsiteY106" fmla="*/ 0 h 428625"/>
                <a:gd name="connsiteX107" fmla="*/ 2586133 w 3867150"/>
                <a:gd name="connsiteY107" fmla="*/ 264223 h 428625"/>
                <a:gd name="connsiteX108" fmla="*/ 2584228 w 3867150"/>
                <a:gd name="connsiteY108" fmla="*/ 284702 h 428625"/>
                <a:gd name="connsiteX109" fmla="*/ 2643569 w 3867150"/>
                <a:gd name="connsiteY109" fmla="*/ 338328 h 428625"/>
                <a:gd name="connsiteX110" fmla="*/ 2675858 w 3867150"/>
                <a:gd name="connsiteY110" fmla="*/ 338328 h 428625"/>
                <a:gd name="connsiteX111" fmla="*/ 2685860 w 3867150"/>
                <a:gd name="connsiteY111" fmla="*/ 288512 h 428625"/>
                <a:gd name="connsiteX112" fmla="*/ 2661666 w 3867150"/>
                <a:gd name="connsiteY112" fmla="*/ 288512 h 428625"/>
                <a:gd name="connsiteX113" fmla="*/ 2643569 w 3867150"/>
                <a:gd name="connsiteY113" fmla="*/ 274225 h 428625"/>
                <a:gd name="connsiteX114" fmla="*/ 2644997 w 3867150"/>
                <a:gd name="connsiteY114" fmla="*/ 263747 h 428625"/>
                <a:gd name="connsiteX115" fmla="*/ 2697766 w 3867150"/>
                <a:gd name="connsiteY115" fmla="*/ 0 h 428625"/>
                <a:gd name="connsiteX116" fmla="*/ 2514791 w 3867150"/>
                <a:gd name="connsiteY116" fmla="*/ 94583 h 428625"/>
                <a:gd name="connsiteX117" fmla="*/ 2455355 w 3867150"/>
                <a:gd name="connsiteY117" fmla="*/ 151638 h 428625"/>
                <a:gd name="connsiteX118" fmla="*/ 2399253 w 3867150"/>
                <a:gd name="connsiteY118" fmla="*/ 151638 h 428625"/>
                <a:gd name="connsiteX119" fmla="*/ 2418779 w 3867150"/>
                <a:gd name="connsiteY119" fmla="*/ 55531 h 428625"/>
                <a:gd name="connsiteX120" fmla="*/ 2476786 w 3867150"/>
                <a:gd name="connsiteY120" fmla="*/ 55531 h 428625"/>
                <a:gd name="connsiteX121" fmla="*/ 2514791 w 3867150"/>
                <a:gd name="connsiteY121" fmla="*/ 94583 h 428625"/>
                <a:gd name="connsiteX122" fmla="*/ 2578037 w 3867150"/>
                <a:gd name="connsiteY122" fmla="*/ 89345 h 428625"/>
                <a:gd name="connsiteX123" fmla="*/ 2487359 w 3867150"/>
                <a:gd name="connsiteY123" fmla="*/ 0 h 428625"/>
                <a:gd name="connsiteX124" fmla="*/ 2367058 w 3867150"/>
                <a:gd name="connsiteY124" fmla="*/ 0 h 428625"/>
                <a:gd name="connsiteX125" fmla="*/ 2299049 w 3867150"/>
                <a:gd name="connsiteY125" fmla="*/ 338328 h 428625"/>
                <a:gd name="connsiteX126" fmla="*/ 2361819 w 3867150"/>
                <a:gd name="connsiteY126" fmla="*/ 338328 h 428625"/>
                <a:gd name="connsiteX127" fmla="*/ 2387918 w 3867150"/>
                <a:gd name="connsiteY127" fmla="*/ 207169 h 428625"/>
                <a:gd name="connsiteX128" fmla="*/ 2453069 w 3867150"/>
                <a:gd name="connsiteY128" fmla="*/ 207169 h 428625"/>
                <a:gd name="connsiteX129" fmla="*/ 2578037 w 3867150"/>
                <a:gd name="connsiteY129" fmla="*/ 89345 h 428625"/>
                <a:gd name="connsiteX130" fmla="*/ 2105501 w 3867150"/>
                <a:gd name="connsiteY130" fmla="*/ 173546 h 428625"/>
                <a:gd name="connsiteX131" fmla="*/ 2101215 w 3867150"/>
                <a:gd name="connsiteY131" fmla="*/ 207740 h 428625"/>
                <a:gd name="connsiteX132" fmla="*/ 2048923 w 3867150"/>
                <a:gd name="connsiteY132" fmla="*/ 275272 h 428625"/>
                <a:gd name="connsiteX133" fmla="*/ 2019490 w 3867150"/>
                <a:gd name="connsiteY133" fmla="*/ 242506 h 428625"/>
                <a:gd name="connsiteX134" fmla="*/ 2023777 w 3867150"/>
                <a:gd name="connsiteY134" fmla="*/ 208312 h 428625"/>
                <a:gd name="connsiteX135" fmla="*/ 2076069 w 3867150"/>
                <a:gd name="connsiteY135" fmla="*/ 140779 h 428625"/>
                <a:gd name="connsiteX136" fmla="*/ 2105501 w 3867150"/>
                <a:gd name="connsiteY136" fmla="*/ 173546 h 428625"/>
                <a:gd name="connsiteX137" fmla="*/ 2105501 w 3867150"/>
                <a:gd name="connsiteY137" fmla="*/ 173546 h 428625"/>
                <a:gd name="connsiteX138" fmla="*/ 2183035 w 3867150"/>
                <a:gd name="connsiteY138" fmla="*/ 90773 h 428625"/>
                <a:gd name="connsiteX139" fmla="*/ 2125980 w 3867150"/>
                <a:gd name="connsiteY139" fmla="*/ 90773 h 428625"/>
                <a:gd name="connsiteX140" fmla="*/ 2121218 w 3867150"/>
                <a:gd name="connsiteY140" fmla="*/ 115919 h 428625"/>
                <a:gd name="connsiteX141" fmla="*/ 2065115 w 3867150"/>
                <a:gd name="connsiteY141" fmla="*/ 87821 h 428625"/>
                <a:gd name="connsiteX142" fmla="*/ 2001964 w 3867150"/>
                <a:gd name="connsiteY142" fmla="*/ 112490 h 428625"/>
                <a:gd name="connsiteX143" fmla="*/ 1964912 w 3867150"/>
                <a:gd name="connsiteY143" fmla="*/ 207550 h 428625"/>
                <a:gd name="connsiteX144" fmla="*/ 1958721 w 3867150"/>
                <a:gd name="connsiteY144" fmla="*/ 257937 h 428625"/>
                <a:gd name="connsiteX145" fmla="*/ 2027111 w 3867150"/>
                <a:gd name="connsiteY145" fmla="*/ 327755 h 428625"/>
                <a:gd name="connsiteX146" fmla="*/ 2082260 w 3867150"/>
                <a:gd name="connsiteY146" fmla="*/ 303086 h 428625"/>
                <a:gd name="connsiteX147" fmla="*/ 2077022 w 3867150"/>
                <a:gd name="connsiteY147" fmla="*/ 328231 h 428625"/>
                <a:gd name="connsiteX148" fmla="*/ 2016633 w 3867150"/>
                <a:gd name="connsiteY148" fmla="*/ 381953 h 428625"/>
                <a:gd name="connsiteX149" fmla="*/ 1975295 w 3867150"/>
                <a:gd name="connsiteY149" fmla="*/ 362426 h 428625"/>
                <a:gd name="connsiteX150" fmla="*/ 1934432 w 3867150"/>
                <a:gd name="connsiteY150" fmla="*/ 398050 h 428625"/>
                <a:gd name="connsiteX151" fmla="*/ 2016633 w 3867150"/>
                <a:gd name="connsiteY151" fmla="*/ 431768 h 428625"/>
                <a:gd name="connsiteX152" fmla="*/ 2135505 w 3867150"/>
                <a:gd name="connsiteY152" fmla="*/ 328613 h 428625"/>
                <a:gd name="connsiteX153" fmla="*/ 2183035 w 3867150"/>
                <a:gd name="connsiteY153" fmla="*/ 90773 h 428625"/>
                <a:gd name="connsiteX154" fmla="*/ 1924431 w 3867150"/>
                <a:gd name="connsiteY154" fmla="*/ 156305 h 428625"/>
                <a:gd name="connsiteX155" fmla="*/ 1861280 w 3867150"/>
                <a:gd name="connsiteY155" fmla="*/ 87916 h 428625"/>
                <a:gd name="connsiteX156" fmla="*/ 1796129 w 3867150"/>
                <a:gd name="connsiteY156" fmla="*/ 114490 h 428625"/>
                <a:gd name="connsiteX157" fmla="*/ 1800415 w 3867150"/>
                <a:gd name="connsiteY157" fmla="*/ 90773 h 428625"/>
                <a:gd name="connsiteX158" fmla="*/ 1743837 w 3867150"/>
                <a:gd name="connsiteY158" fmla="*/ 90773 h 428625"/>
                <a:gd name="connsiteX159" fmla="*/ 1694402 w 3867150"/>
                <a:gd name="connsiteY159" fmla="*/ 338328 h 428625"/>
                <a:gd name="connsiteX160" fmla="*/ 1753362 w 3867150"/>
                <a:gd name="connsiteY160" fmla="*/ 338328 h 428625"/>
                <a:gd name="connsiteX161" fmla="*/ 1783747 w 3867150"/>
                <a:gd name="connsiteY161" fmla="*/ 188119 h 428625"/>
                <a:gd name="connsiteX162" fmla="*/ 1834134 w 3867150"/>
                <a:gd name="connsiteY162" fmla="*/ 140589 h 428625"/>
                <a:gd name="connsiteX163" fmla="*/ 1863566 w 3867150"/>
                <a:gd name="connsiteY163" fmla="*/ 171450 h 428625"/>
                <a:gd name="connsiteX164" fmla="*/ 1861661 w 3867150"/>
                <a:gd name="connsiteY164" fmla="*/ 187642 h 428625"/>
                <a:gd name="connsiteX165" fmla="*/ 1831277 w 3867150"/>
                <a:gd name="connsiteY165" fmla="*/ 338328 h 428625"/>
                <a:gd name="connsiteX166" fmla="*/ 1890141 w 3867150"/>
                <a:gd name="connsiteY166" fmla="*/ 338328 h 428625"/>
                <a:gd name="connsiteX167" fmla="*/ 1921002 w 3867150"/>
                <a:gd name="connsiteY167" fmla="*/ 183832 h 428625"/>
                <a:gd name="connsiteX168" fmla="*/ 1924431 w 3867150"/>
                <a:gd name="connsiteY168" fmla="*/ 156305 h 428625"/>
                <a:gd name="connsiteX169" fmla="*/ 1702022 w 3867150"/>
                <a:gd name="connsiteY169" fmla="*/ 953 h 428625"/>
                <a:gd name="connsiteX170" fmla="*/ 1641157 w 3867150"/>
                <a:gd name="connsiteY170" fmla="*/ 953 h 428625"/>
                <a:gd name="connsiteX171" fmla="*/ 1631632 w 3867150"/>
                <a:gd name="connsiteY171" fmla="*/ 49816 h 428625"/>
                <a:gd name="connsiteX172" fmla="*/ 1692021 w 3867150"/>
                <a:gd name="connsiteY172" fmla="*/ 49816 h 428625"/>
                <a:gd name="connsiteX173" fmla="*/ 1702022 w 3867150"/>
                <a:gd name="connsiteY173" fmla="*/ 953 h 428625"/>
                <a:gd name="connsiteX174" fmla="*/ 1682115 w 3867150"/>
                <a:gd name="connsiteY174" fmla="*/ 98393 h 428625"/>
                <a:gd name="connsiteX175" fmla="*/ 1623155 w 3867150"/>
                <a:gd name="connsiteY175" fmla="*/ 98393 h 428625"/>
                <a:gd name="connsiteX176" fmla="*/ 1575149 w 3867150"/>
                <a:gd name="connsiteY176" fmla="*/ 338423 h 428625"/>
                <a:gd name="connsiteX177" fmla="*/ 1634109 w 3867150"/>
                <a:gd name="connsiteY177" fmla="*/ 338423 h 428625"/>
                <a:gd name="connsiteX178" fmla="*/ 1682115 w 3867150"/>
                <a:gd name="connsiteY178" fmla="*/ 98393 h 428625"/>
                <a:gd name="connsiteX179" fmla="*/ 1592199 w 3867150"/>
                <a:gd name="connsiteY179" fmla="*/ 111252 h 428625"/>
                <a:gd name="connsiteX180" fmla="*/ 1539431 w 3867150"/>
                <a:gd name="connsiteY180" fmla="*/ 88011 h 428625"/>
                <a:gd name="connsiteX181" fmla="*/ 1476661 w 3867150"/>
                <a:gd name="connsiteY181" fmla="*/ 115062 h 428625"/>
                <a:gd name="connsiteX182" fmla="*/ 1481900 w 3867150"/>
                <a:gd name="connsiteY182" fmla="*/ 90869 h 428625"/>
                <a:gd name="connsiteX183" fmla="*/ 1424845 w 3867150"/>
                <a:gd name="connsiteY183" fmla="*/ 90869 h 428625"/>
                <a:gd name="connsiteX184" fmla="*/ 1375410 w 3867150"/>
                <a:gd name="connsiteY184" fmla="*/ 338423 h 428625"/>
                <a:gd name="connsiteX185" fmla="*/ 1434370 w 3867150"/>
                <a:gd name="connsiteY185" fmla="*/ 338423 h 428625"/>
                <a:gd name="connsiteX186" fmla="*/ 1464278 w 3867150"/>
                <a:gd name="connsiteY186" fmla="*/ 188690 h 428625"/>
                <a:gd name="connsiteX187" fmla="*/ 1514189 w 3867150"/>
                <a:gd name="connsiteY187" fmla="*/ 141161 h 428625"/>
                <a:gd name="connsiteX188" fmla="*/ 1541240 w 3867150"/>
                <a:gd name="connsiteY188" fmla="*/ 156400 h 428625"/>
                <a:gd name="connsiteX189" fmla="*/ 1592199 w 3867150"/>
                <a:gd name="connsiteY189" fmla="*/ 111252 h 428625"/>
                <a:gd name="connsiteX190" fmla="*/ 1298067 w 3867150"/>
                <a:gd name="connsiteY190" fmla="*/ 176308 h 428625"/>
                <a:gd name="connsiteX191" fmla="*/ 1296638 w 3867150"/>
                <a:gd name="connsiteY191" fmla="*/ 192977 h 428625"/>
                <a:gd name="connsiteX192" fmla="*/ 1205770 w 3867150"/>
                <a:gd name="connsiteY192" fmla="*/ 192977 h 428625"/>
                <a:gd name="connsiteX193" fmla="*/ 1262825 w 3867150"/>
                <a:gd name="connsiteY193" fmla="*/ 136303 h 428625"/>
                <a:gd name="connsiteX194" fmla="*/ 1298067 w 3867150"/>
                <a:gd name="connsiteY194" fmla="*/ 176308 h 428625"/>
                <a:gd name="connsiteX195" fmla="*/ 1354074 w 3867150"/>
                <a:gd name="connsiteY195" fmla="*/ 176308 h 428625"/>
                <a:gd name="connsiteX196" fmla="*/ 1266158 w 3867150"/>
                <a:gd name="connsiteY196" fmla="*/ 87916 h 428625"/>
                <a:gd name="connsiteX197" fmla="*/ 1140238 w 3867150"/>
                <a:gd name="connsiteY197" fmla="*/ 254222 h 428625"/>
                <a:gd name="connsiteX198" fmla="*/ 1231964 w 3867150"/>
                <a:gd name="connsiteY198" fmla="*/ 341186 h 428625"/>
                <a:gd name="connsiteX199" fmla="*/ 1328452 w 3867150"/>
                <a:gd name="connsiteY199" fmla="*/ 305086 h 428625"/>
                <a:gd name="connsiteX200" fmla="*/ 1297591 w 3867150"/>
                <a:gd name="connsiteY200" fmla="*/ 266129 h 428625"/>
                <a:gd name="connsiteX201" fmla="*/ 1238631 w 3867150"/>
                <a:gd name="connsiteY201" fmla="*/ 291370 h 428625"/>
                <a:gd name="connsiteX202" fmla="*/ 1196340 w 3867150"/>
                <a:gd name="connsiteY202" fmla="*/ 249936 h 428625"/>
                <a:gd name="connsiteX203" fmla="*/ 1198245 w 3867150"/>
                <a:gd name="connsiteY203" fmla="*/ 232315 h 428625"/>
                <a:gd name="connsiteX204" fmla="*/ 1346549 w 3867150"/>
                <a:gd name="connsiteY204" fmla="*/ 232315 h 428625"/>
                <a:gd name="connsiteX205" fmla="*/ 1354074 w 3867150"/>
                <a:gd name="connsiteY205" fmla="*/ 176308 h 428625"/>
                <a:gd name="connsiteX206" fmla="*/ 1054227 w 3867150"/>
                <a:gd name="connsiteY206" fmla="*/ 176308 h 428625"/>
                <a:gd name="connsiteX207" fmla="*/ 1052798 w 3867150"/>
                <a:gd name="connsiteY207" fmla="*/ 192977 h 428625"/>
                <a:gd name="connsiteX208" fmla="*/ 961930 w 3867150"/>
                <a:gd name="connsiteY208" fmla="*/ 192977 h 428625"/>
                <a:gd name="connsiteX209" fmla="*/ 1018984 w 3867150"/>
                <a:gd name="connsiteY209" fmla="*/ 136303 h 428625"/>
                <a:gd name="connsiteX210" fmla="*/ 1054227 w 3867150"/>
                <a:gd name="connsiteY210" fmla="*/ 176308 h 428625"/>
                <a:gd name="connsiteX211" fmla="*/ 1110234 w 3867150"/>
                <a:gd name="connsiteY211" fmla="*/ 176308 h 428625"/>
                <a:gd name="connsiteX212" fmla="*/ 1022318 w 3867150"/>
                <a:gd name="connsiteY212" fmla="*/ 87916 h 428625"/>
                <a:gd name="connsiteX213" fmla="*/ 896398 w 3867150"/>
                <a:gd name="connsiteY213" fmla="*/ 254222 h 428625"/>
                <a:gd name="connsiteX214" fmla="*/ 988124 w 3867150"/>
                <a:gd name="connsiteY214" fmla="*/ 341186 h 428625"/>
                <a:gd name="connsiteX215" fmla="*/ 1084612 w 3867150"/>
                <a:gd name="connsiteY215" fmla="*/ 305086 h 428625"/>
                <a:gd name="connsiteX216" fmla="*/ 1053751 w 3867150"/>
                <a:gd name="connsiteY216" fmla="*/ 266129 h 428625"/>
                <a:gd name="connsiteX217" fmla="*/ 994791 w 3867150"/>
                <a:gd name="connsiteY217" fmla="*/ 291370 h 428625"/>
                <a:gd name="connsiteX218" fmla="*/ 952500 w 3867150"/>
                <a:gd name="connsiteY218" fmla="*/ 249936 h 428625"/>
                <a:gd name="connsiteX219" fmla="*/ 954405 w 3867150"/>
                <a:gd name="connsiteY219" fmla="*/ 232315 h 428625"/>
                <a:gd name="connsiteX220" fmla="*/ 1102709 w 3867150"/>
                <a:gd name="connsiteY220" fmla="*/ 232315 h 428625"/>
                <a:gd name="connsiteX221" fmla="*/ 1110234 w 3867150"/>
                <a:gd name="connsiteY221" fmla="*/ 176308 h 428625"/>
                <a:gd name="connsiteX222" fmla="*/ 863537 w 3867150"/>
                <a:gd name="connsiteY222" fmla="*/ 156305 h 428625"/>
                <a:gd name="connsiteX223" fmla="*/ 800386 w 3867150"/>
                <a:gd name="connsiteY223" fmla="*/ 87916 h 428625"/>
                <a:gd name="connsiteX224" fmla="*/ 735235 w 3867150"/>
                <a:gd name="connsiteY224" fmla="*/ 114490 h 428625"/>
                <a:gd name="connsiteX225" fmla="*/ 739521 w 3867150"/>
                <a:gd name="connsiteY225" fmla="*/ 90773 h 428625"/>
                <a:gd name="connsiteX226" fmla="*/ 682943 w 3867150"/>
                <a:gd name="connsiteY226" fmla="*/ 90773 h 428625"/>
                <a:gd name="connsiteX227" fmla="*/ 633508 w 3867150"/>
                <a:gd name="connsiteY227" fmla="*/ 338328 h 428625"/>
                <a:gd name="connsiteX228" fmla="*/ 692468 w 3867150"/>
                <a:gd name="connsiteY228" fmla="*/ 338328 h 428625"/>
                <a:gd name="connsiteX229" fmla="*/ 722852 w 3867150"/>
                <a:gd name="connsiteY229" fmla="*/ 188119 h 428625"/>
                <a:gd name="connsiteX230" fmla="*/ 773240 w 3867150"/>
                <a:gd name="connsiteY230" fmla="*/ 140589 h 428625"/>
                <a:gd name="connsiteX231" fmla="*/ 802672 w 3867150"/>
                <a:gd name="connsiteY231" fmla="*/ 171450 h 428625"/>
                <a:gd name="connsiteX232" fmla="*/ 800767 w 3867150"/>
                <a:gd name="connsiteY232" fmla="*/ 187642 h 428625"/>
                <a:gd name="connsiteX233" fmla="*/ 770382 w 3867150"/>
                <a:gd name="connsiteY233" fmla="*/ 338328 h 428625"/>
                <a:gd name="connsiteX234" fmla="*/ 829247 w 3867150"/>
                <a:gd name="connsiteY234" fmla="*/ 338328 h 428625"/>
                <a:gd name="connsiteX235" fmla="*/ 860108 w 3867150"/>
                <a:gd name="connsiteY235" fmla="*/ 183832 h 428625"/>
                <a:gd name="connsiteX236" fmla="*/ 863537 w 3867150"/>
                <a:gd name="connsiteY236" fmla="*/ 156305 h 428625"/>
                <a:gd name="connsiteX237" fmla="*/ 553688 w 3867150"/>
                <a:gd name="connsiteY237" fmla="*/ 176308 h 428625"/>
                <a:gd name="connsiteX238" fmla="*/ 548450 w 3867150"/>
                <a:gd name="connsiteY238" fmla="*/ 214313 h 428625"/>
                <a:gd name="connsiteX239" fmla="*/ 523208 w 3867150"/>
                <a:gd name="connsiteY239" fmla="*/ 276130 h 428625"/>
                <a:gd name="connsiteX240" fmla="*/ 492824 w 3867150"/>
                <a:gd name="connsiteY240" fmla="*/ 288512 h 428625"/>
                <a:gd name="connsiteX241" fmla="*/ 461391 w 3867150"/>
                <a:gd name="connsiteY241" fmla="*/ 252889 h 428625"/>
                <a:gd name="connsiteX242" fmla="*/ 466630 w 3867150"/>
                <a:gd name="connsiteY242" fmla="*/ 214408 h 428625"/>
                <a:gd name="connsiteX243" fmla="*/ 491871 w 3867150"/>
                <a:gd name="connsiteY243" fmla="*/ 153067 h 428625"/>
                <a:gd name="connsiteX244" fmla="*/ 522351 w 3867150"/>
                <a:gd name="connsiteY244" fmla="*/ 140684 h 428625"/>
                <a:gd name="connsiteX245" fmla="*/ 553688 w 3867150"/>
                <a:gd name="connsiteY245" fmla="*/ 176308 h 428625"/>
                <a:gd name="connsiteX246" fmla="*/ 612172 w 3867150"/>
                <a:gd name="connsiteY246" fmla="*/ 169640 h 428625"/>
                <a:gd name="connsiteX247" fmla="*/ 528542 w 3867150"/>
                <a:gd name="connsiteY247" fmla="*/ 87916 h 428625"/>
                <a:gd name="connsiteX248" fmla="*/ 452438 w 3867150"/>
                <a:gd name="connsiteY248" fmla="*/ 116396 h 428625"/>
                <a:gd name="connsiteX249" fmla="*/ 408242 w 3867150"/>
                <a:gd name="connsiteY249" fmla="*/ 214313 h 428625"/>
                <a:gd name="connsiteX250" fmla="*/ 403003 w 3867150"/>
                <a:gd name="connsiteY250" fmla="*/ 259461 h 428625"/>
                <a:gd name="connsiteX251" fmla="*/ 487109 w 3867150"/>
                <a:gd name="connsiteY251" fmla="*/ 341186 h 428625"/>
                <a:gd name="connsiteX252" fmla="*/ 563213 w 3867150"/>
                <a:gd name="connsiteY252" fmla="*/ 312706 h 428625"/>
                <a:gd name="connsiteX253" fmla="*/ 607409 w 3867150"/>
                <a:gd name="connsiteY253" fmla="*/ 214313 h 428625"/>
                <a:gd name="connsiteX254" fmla="*/ 612172 w 3867150"/>
                <a:gd name="connsiteY254" fmla="*/ 169640 h 428625"/>
                <a:gd name="connsiteX255" fmla="*/ 401098 w 3867150"/>
                <a:gd name="connsiteY255" fmla="*/ 953 h 428625"/>
                <a:gd name="connsiteX256" fmla="*/ 340233 w 3867150"/>
                <a:gd name="connsiteY256" fmla="*/ 953 h 428625"/>
                <a:gd name="connsiteX257" fmla="*/ 330708 w 3867150"/>
                <a:gd name="connsiteY257" fmla="*/ 49816 h 428625"/>
                <a:gd name="connsiteX258" fmla="*/ 391096 w 3867150"/>
                <a:gd name="connsiteY258" fmla="*/ 49816 h 428625"/>
                <a:gd name="connsiteX259" fmla="*/ 401098 w 3867150"/>
                <a:gd name="connsiteY259" fmla="*/ 953 h 428625"/>
                <a:gd name="connsiteX260" fmla="*/ 381191 w 3867150"/>
                <a:gd name="connsiteY260" fmla="*/ 98393 h 428625"/>
                <a:gd name="connsiteX261" fmla="*/ 322231 w 3867150"/>
                <a:gd name="connsiteY261" fmla="*/ 98393 h 428625"/>
                <a:gd name="connsiteX262" fmla="*/ 274225 w 3867150"/>
                <a:gd name="connsiteY262" fmla="*/ 338423 h 428625"/>
                <a:gd name="connsiteX263" fmla="*/ 333184 w 3867150"/>
                <a:gd name="connsiteY263" fmla="*/ 338423 h 428625"/>
                <a:gd name="connsiteX264" fmla="*/ 381191 w 3867150"/>
                <a:gd name="connsiteY264" fmla="*/ 98393 h 428625"/>
                <a:gd name="connsiteX265" fmla="*/ 215741 w 3867150"/>
                <a:gd name="connsiteY265" fmla="*/ 94583 h 428625"/>
                <a:gd name="connsiteX266" fmla="*/ 156305 w 3867150"/>
                <a:gd name="connsiteY266" fmla="*/ 151638 h 428625"/>
                <a:gd name="connsiteX267" fmla="*/ 100203 w 3867150"/>
                <a:gd name="connsiteY267" fmla="*/ 151638 h 428625"/>
                <a:gd name="connsiteX268" fmla="*/ 119729 w 3867150"/>
                <a:gd name="connsiteY268" fmla="*/ 55531 h 428625"/>
                <a:gd name="connsiteX269" fmla="*/ 177737 w 3867150"/>
                <a:gd name="connsiteY269" fmla="*/ 55531 h 428625"/>
                <a:gd name="connsiteX270" fmla="*/ 215741 w 3867150"/>
                <a:gd name="connsiteY270" fmla="*/ 94583 h 428625"/>
                <a:gd name="connsiteX271" fmla="*/ 278987 w 3867150"/>
                <a:gd name="connsiteY271" fmla="*/ 89345 h 428625"/>
                <a:gd name="connsiteX272" fmla="*/ 188214 w 3867150"/>
                <a:gd name="connsiteY272" fmla="*/ 0 h 428625"/>
                <a:gd name="connsiteX273" fmla="*/ 68008 w 3867150"/>
                <a:gd name="connsiteY273" fmla="*/ 0 h 428625"/>
                <a:gd name="connsiteX274" fmla="*/ 0 w 3867150"/>
                <a:gd name="connsiteY274" fmla="*/ 338328 h 428625"/>
                <a:gd name="connsiteX275" fmla="*/ 62770 w 3867150"/>
                <a:gd name="connsiteY275" fmla="*/ 338328 h 428625"/>
                <a:gd name="connsiteX276" fmla="*/ 88868 w 3867150"/>
                <a:gd name="connsiteY276" fmla="*/ 207169 h 428625"/>
                <a:gd name="connsiteX277" fmla="*/ 154019 w 3867150"/>
                <a:gd name="connsiteY277" fmla="*/ 207169 h 428625"/>
                <a:gd name="connsiteX278" fmla="*/ 278987 w 3867150"/>
                <a:gd name="connsiteY278" fmla="*/ 89345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3867150" h="428625">
                  <a:moveTo>
                    <a:pt x="3869817" y="118300"/>
                  </a:moveTo>
                  <a:cubicBezTo>
                    <a:pt x="3848481" y="96488"/>
                    <a:pt x="3822764" y="87916"/>
                    <a:pt x="3787617" y="87916"/>
                  </a:cubicBezTo>
                  <a:cubicBezTo>
                    <a:pt x="3752374" y="87916"/>
                    <a:pt x="3723894" y="97917"/>
                    <a:pt x="3705416" y="116396"/>
                  </a:cubicBezTo>
                  <a:cubicBezTo>
                    <a:pt x="3688842" y="132969"/>
                    <a:pt x="3680270" y="155353"/>
                    <a:pt x="3680270" y="178213"/>
                  </a:cubicBezTo>
                  <a:cubicBezTo>
                    <a:pt x="3680270" y="201549"/>
                    <a:pt x="3694462" y="226695"/>
                    <a:pt x="3739610" y="234315"/>
                  </a:cubicBezTo>
                  <a:lnTo>
                    <a:pt x="3771995" y="239554"/>
                  </a:lnTo>
                  <a:cubicBezTo>
                    <a:pt x="3786283" y="241935"/>
                    <a:pt x="3795332" y="246697"/>
                    <a:pt x="3795332" y="260032"/>
                  </a:cubicBezTo>
                  <a:cubicBezTo>
                    <a:pt x="3795332" y="274796"/>
                    <a:pt x="3778663" y="290894"/>
                    <a:pt x="3744944" y="290894"/>
                  </a:cubicBezTo>
                  <a:cubicBezTo>
                    <a:pt x="3716941" y="290894"/>
                    <a:pt x="3700272" y="281369"/>
                    <a:pt x="3687985" y="267081"/>
                  </a:cubicBezTo>
                  <a:lnTo>
                    <a:pt x="3645694" y="304133"/>
                  </a:lnTo>
                  <a:cubicBezTo>
                    <a:pt x="3667601" y="327850"/>
                    <a:pt x="3697034" y="341186"/>
                    <a:pt x="3741135" y="341186"/>
                  </a:cubicBezTo>
                  <a:cubicBezTo>
                    <a:pt x="3773043" y="341186"/>
                    <a:pt x="3807238" y="333565"/>
                    <a:pt x="3827145" y="314134"/>
                  </a:cubicBezTo>
                  <a:cubicBezTo>
                    <a:pt x="3843338" y="298513"/>
                    <a:pt x="3853720" y="278987"/>
                    <a:pt x="3853720" y="254222"/>
                  </a:cubicBezTo>
                  <a:cubicBezTo>
                    <a:pt x="3853720" y="220028"/>
                    <a:pt x="3838004" y="197167"/>
                    <a:pt x="3793903" y="190024"/>
                  </a:cubicBezTo>
                  <a:lnTo>
                    <a:pt x="3761994" y="184785"/>
                  </a:lnTo>
                  <a:cubicBezTo>
                    <a:pt x="3746754" y="182404"/>
                    <a:pt x="3739134" y="176689"/>
                    <a:pt x="3739134" y="166211"/>
                  </a:cubicBezTo>
                  <a:cubicBezTo>
                    <a:pt x="3739134" y="150971"/>
                    <a:pt x="3752469" y="136303"/>
                    <a:pt x="3782377" y="136303"/>
                  </a:cubicBezTo>
                  <a:cubicBezTo>
                    <a:pt x="3799999" y="136303"/>
                    <a:pt x="3818001" y="142018"/>
                    <a:pt x="3829431" y="153924"/>
                  </a:cubicBezTo>
                  <a:lnTo>
                    <a:pt x="3869817" y="118300"/>
                  </a:lnTo>
                  <a:close/>
                  <a:moveTo>
                    <a:pt x="3661220" y="122111"/>
                  </a:moveTo>
                  <a:cubicBezTo>
                    <a:pt x="3646456" y="103156"/>
                    <a:pt x="3624644" y="87916"/>
                    <a:pt x="3588544" y="87916"/>
                  </a:cubicBezTo>
                  <a:cubicBezTo>
                    <a:pt x="3538157" y="87916"/>
                    <a:pt x="3481197" y="113538"/>
                    <a:pt x="3462623" y="214313"/>
                  </a:cubicBezTo>
                  <a:cubicBezTo>
                    <a:pt x="3460242" y="227171"/>
                    <a:pt x="3458813" y="240982"/>
                    <a:pt x="3458813" y="252794"/>
                  </a:cubicBezTo>
                  <a:cubicBezTo>
                    <a:pt x="3458813" y="311277"/>
                    <a:pt x="3500628" y="341186"/>
                    <a:pt x="3547586" y="341186"/>
                  </a:cubicBezTo>
                  <a:cubicBezTo>
                    <a:pt x="3579400" y="341186"/>
                    <a:pt x="3608451" y="329279"/>
                    <a:pt x="3629311" y="309848"/>
                  </a:cubicBezTo>
                  <a:lnTo>
                    <a:pt x="3596545" y="267557"/>
                  </a:lnTo>
                  <a:cubicBezTo>
                    <a:pt x="3582734" y="281369"/>
                    <a:pt x="3569875" y="288512"/>
                    <a:pt x="3553301" y="288512"/>
                  </a:cubicBezTo>
                  <a:cubicBezTo>
                    <a:pt x="3530441" y="288512"/>
                    <a:pt x="3518154" y="272320"/>
                    <a:pt x="3518154" y="246221"/>
                  </a:cubicBezTo>
                  <a:cubicBezTo>
                    <a:pt x="3518154" y="234791"/>
                    <a:pt x="3519583" y="225266"/>
                    <a:pt x="3521488" y="214313"/>
                  </a:cubicBezTo>
                  <a:cubicBezTo>
                    <a:pt x="3525774" y="190976"/>
                    <a:pt x="3534823" y="169640"/>
                    <a:pt x="3547586" y="156305"/>
                  </a:cubicBezTo>
                  <a:cubicBezTo>
                    <a:pt x="3558064" y="145352"/>
                    <a:pt x="3569970" y="140589"/>
                    <a:pt x="3582734" y="140589"/>
                  </a:cubicBezTo>
                  <a:cubicBezTo>
                    <a:pt x="3597497" y="140589"/>
                    <a:pt x="3607499" y="148209"/>
                    <a:pt x="3616928" y="161068"/>
                  </a:cubicBezTo>
                  <a:lnTo>
                    <a:pt x="3661220" y="122111"/>
                  </a:lnTo>
                  <a:close/>
                  <a:moveTo>
                    <a:pt x="3456813" y="953"/>
                  </a:moveTo>
                  <a:lnTo>
                    <a:pt x="3395948" y="953"/>
                  </a:lnTo>
                  <a:lnTo>
                    <a:pt x="3386423" y="49816"/>
                  </a:lnTo>
                  <a:lnTo>
                    <a:pt x="3446812" y="49816"/>
                  </a:lnTo>
                  <a:lnTo>
                    <a:pt x="3456813" y="953"/>
                  </a:lnTo>
                  <a:close/>
                  <a:moveTo>
                    <a:pt x="3436906" y="98393"/>
                  </a:moveTo>
                  <a:lnTo>
                    <a:pt x="3377946" y="98393"/>
                  </a:lnTo>
                  <a:lnTo>
                    <a:pt x="3329940" y="338423"/>
                  </a:lnTo>
                  <a:lnTo>
                    <a:pt x="3388900" y="338423"/>
                  </a:lnTo>
                  <a:lnTo>
                    <a:pt x="3436906" y="98393"/>
                  </a:lnTo>
                  <a:close/>
                  <a:moveTo>
                    <a:pt x="3328035" y="98393"/>
                  </a:moveTo>
                  <a:lnTo>
                    <a:pt x="3287173" y="98393"/>
                  </a:lnTo>
                  <a:lnTo>
                    <a:pt x="3301937" y="24289"/>
                  </a:lnTo>
                  <a:lnTo>
                    <a:pt x="3242977" y="24289"/>
                  </a:lnTo>
                  <a:lnTo>
                    <a:pt x="3228213" y="98393"/>
                  </a:lnTo>
                  <a:lnTo>
                    <a:pt x="3203067" y="98393"/>
                  </a:lnTo>
                  <a:lnTo>
                    <a:pt x="3194019" y="142970"/>
                  </a:lnTo>
                  <a:lnTo>
                    <a:pt x="3219164" y="142970"/>
                  </a:lnTo>
                  <a:lnTo>
                    <a:pt x="3194971" y="264223"/>
                  </a:lnTo>
                  <a:cubicBezTo>
                    <a:pt x="3194019" y="269462"/>
                    <a:pt x="3193066" y="276130"/>
                    <a:pt x="3193066" y="284702"/>
                  </a:cubicBezTo>
                  <a:cubicBezTo>
                    <a:pt x="3193066" y="318421"/>
                    <a:pt x="3218688" y="338328"/>
                    <a:pt x="3252883" y="338328"/>
                  </a:cubicBezTo>
                  <a:lnTo>
                    <a:pt x="3283268" y="338328"/>
                  </a:lnTo>
                  <a:lnTo>
                    <a:pt x="3293269" y="288988"/>
                  </a:lnTo>
                  <a:lnTo>
                    <a:pt x="3271933" y="288988"/>
                  </a:lnTo>
                  <a:cubicBezTo>
                    <a:pt x="3259074" y="288988"/>
                    <a:pt x="3252883" y="283750"/>
                    <a:pt x="3252883" y="273748"/>
                  </a:cubicBezTo>
                  <a:cubicBezTo>
                    <a:pt x="3252883" y="271367"/>
                    <a:pt x="3252883" y="269462"/>
                    <a:pt x="3253836" y="264700"/>
                  </a:cubicBezTo>
                  <a:lnTo>
                    <a:pt x="3278029" y="142970"/>
                  </a:lnTo>
                  <a:lnTo>
                    <a:pt x="3318891" y="142970"/>
                  </a:lnTo>
                  <a:lnTo>
                    <a:pt x="3328035" y="98393"/>
                  </a:lnTo>
                  <a:close/>
                  <a:moveTo>
                    <a:pt x="3163062" y="118300"/>
                  </a:moveTo>
                  <a:cubicBezTo>
                    <a:pt x="3141726" y="96488"/>
                    <a:pt x="3116009" y="87916"/>
                    <a:pt x="3080861" y="87916"/>
                  </a:cubicBezTo>
                  <a:cubicBezTo>
                    <a:pt x="3045619" y="87916"/>
                    <a:pt x="3017139" y="97917"/>
                    <a:pt x="2998565" y="116396"/>
                  </a:cubicBezTo>
                  <a:cubicBezTo>
                    <a:pt x="2981992" y="132969"/>
                    <a:pt x="2973420" y="155353"/>
                    <a:pt x="2973420" y="178213"/>
                  </a:cubicBezTo>
                  <a:cubicBezTo>
                    <a:pt x="2973420" y="201549"/>
                    <a:pt x="2987707" y="226695"/>
                    <a:pt x="3032760" y="234315"/>
                  </a:cubicBezTo>
                  <a:lnTo>
                    <a:pt x="3065145" y="239554"/>
                  </a:lnTo>
                  <a:cubicBezTo>
                    <a:pt x="3079433" y="241935"/>
                    <a:pt x="3088481" y="246697"/>
                    <a:pt x="3088481" y="260032"/>
                  </a:cubicBezTo>
                  <a:cubicBezTo>
                    <a:pt x="3088481" y="274796"/>
                    <a:pt x="3071813" y="290894"/>
                    <a:pt x="3037999" y="290894"/>
                  </a:cubicBezTo>
                  <a:cubicBezTo>
                    <a:pt x="3009995" y="290894"/>
                    <a:pt x="2993327" y="281369"/>
                    <a:pt x="2981039" y="267081"/>
                  </a:cubicBezTo>
                  <a:lnTo>
                    <a:pt x="2938748" y="304133"/>
                  </a:lnTo>
                  <a:cubicBezTo>
                    <a:pt x="2960656" y="327850"/>
                    <a:pt x="2990088" y="341186"/>
                    <a:pt x="3034189" y="341186"/>
                  </a:cubicBezTo>
                  <a:cubicBezTo>
                    <a:pt x="3066098" y="341186"/>
                    <a:pt x="3100292" y="333565"/>
                    <a:pt x="3120295" y="314134"/>
                  </a:cubicBezTo>
                  <a:cubicBezTo>
                    <a:pt x="3136392" y="298513"/>
                    <a:pt x="3146870" y="278987"/>
                    <a:pt x="3146870" y="254222"/>
                  </a:cubicBezTo>
                  <a:cubicBezTo>
                    <a:pt x="3146870" y="220028"/>
                    <a:pt x="3131153" y="197167"/>
                    <a:pt x="3087053" y="190024"/>
                  </a:cubicBezTo>
                  <a:lnTo>
                    <a:pt x="3055144" y="184785"/>
                  </a:lnTo>
                  <a:cubicBezTo>
                    <a:pt x="3039904" y="182404"/>
                    <a:pt x="3032284" y="176689"/>
                    <a:pt x="3032284" y="166211"/>
                  </a:cubicBezTo>
                  <a:cubicBezTo>
                    <a:pt x="3032284" y="150971"/>
                    <a:pt x="3045619" y="136303"/>
                    <a:pt x="3075623" y="136303"/>
                  </a:cubicBezTo>
                  <a:cubicBezTo>
                    <a:pt x="3093244" y="136303"/>
                    <a:pt x="3111246" y="142018"/>
                    <a:pt x="3122676" y="153924"/>
                  </a:cubicBezTo>
                  <a:lnTo>
                    <a:pt x="3163062" y="118300"/>
                  </a:lnTo>
                  <a:close/>
                  <a:moveTo>
                    <a:pt x="2858453" y="231934"/>
                  </a:moveTo>
                  <a:lnTo>
                    <a:pt x="2855595" y="246697"/>
                  </a:lnTo>
                  <a:cubicBezTo>
                    <a:pt x="2853214" y="259080"/>
                    <a:pt x="2848451" y="270415"/>
                    <a:pt x="2840831" y="278035"/>
                  </a:cubicBezTo>
                  <a:cubicBezTo>
                    <a:pt x="2831783" y="287083"/>
                    <a:pt x="2818448" y="293275"/>
                    <a:pt x="2802350" y="293275"/>
                  </a:cubicBezTo>
                  <a:cubicBezTo>
                    <a:pt x="2780919" y="293275"/>
                    <a:pt x="2770918" y="283750"/>
                    <a:pt x="2770918" y="269938"/>
                  </a:cubicBezTo>
                  <a:cubicBezTo>
                    <a:pt x="2770918" y="248031"/>
                    <a:pt x="2786634" y="231838"/>
                    <a:pt x="2813209" y="231838"/>
                  </a:cubicBezTo>
                  <a:lnTo>
                    <a:pt x="2858453" y="231838"/>
                  </a:lnTo>
                  <a:close/>
                  <a:moveTo>
                    <a:pt x="2930652" y="156877"/>
                  </a:moveTo>
                  <a:cubicBezTo>
                    <a:pt x="2930652" y="104108"/>
                    <a:pt x="2884075" y="88011"/>
                    <a:pt x="2842736" y="88011"/>
                  </a:cubicBezTo>
                  <a:cubicBezTo>
                    <a:pt x="2796636" y="88011"/>
                    <a:pt x="2770918" y="100870"/>
                    <a:pt x="2751011" y="121253"/>
                  </a:cubicBezTo>
                  <a:lnTo>
                    <a:pt x="2781395" y="160687"/>
                  </a:lnTo>
                  <a:cubicBezTo>
                    <a:pt x="2793778" y="146875"/>
                    <a:pt x="2810447" y="137350"/>
                    <a:pt x="2834640" y="137350"/>
                  </a:cubicBezTo>
                  <a:cubicBezTo>
                    <a:pt x="2859405" y="137350"/>
                    <a:pt x="2871311" y="147352"/>
                    <a:pt x="2871311" y="164021"/>
                  </a:cubicBezTo>
                  <a:cubicBezTo>
                    <a:pt x="2871311" y="168783"/>
                    <a:pt x="2870835" y="172117"/>
                    <a:pt x="2869883" y="176879"/>
                  </a:cubicBezTo>
                  <a:lnTo>
                    <a:pt x="2866549" y="191643"/>
                  </a:lnTo>
                  <a:lnTo>
                    <a:pt x="2807589" y="191643"/>
                  </a:lnTo>
                  <a:cubicBezTo>
                    <a:pt x="2779014" y="191643"/>
                    <a:pt x="2753868" y="199263"/>
                    <a:pt x="2735390" y="217265"/>
                  </a:cubicBezTo>
                  <a:cubicBezTo>
                    <a:pt x="2721102" y="231457"/>
                    <a:pt x="2713101" y="251460"/>
                    <a:pt x="2713101" y="275749"/>
                  </a:cubicBezTo>
                  <a:cubicBezTo>
                    <a:pt x="2713101" y="313277"/>
                    <a:pt x="2740628" y="340805"/>
                    <a:pt x="2783872" y="340805"/>
                  </a:cubicBezTo>
                  <a:cubicBezTo>
                    <a:pt x="2811018" y="340805"/>
                    <a:pt x="2829973" y="330327"/>
                    <a:pt x="2843784" y="316611"/>
                  </a:cubicBezTo>
                  <a:lnTo>
                    <a:pt x="2839498" y="338423"/>
                  </a:lnTo>
                  <a:lnTo>
                    <a:pt x="2896076" y="338423"/>
                  </a:lnTo>
                  <a:lnTo>
                    <a:pt x="2928366" y="178784"/>
                  </a:lnTo>
                  <a:cubicBezTo>
                    <a:pt x="2929700" y="172021"/>
                    <a:pt x="2930652" y="163544"/>
                    <a:pt x="2930652" y="156877"/>
                  </a:cubicBezTo>
                  <a:moveTo>
                    <a:pt x="2697766" y="0"/>
                  </a:moveTo>
                  <a:lnTo>
                    <a:pt x="2638806" y="0"/>
                  </a:lnTo>
                  <a:lnTo>
                    <a:pt x="2586133" y="264223"/>
                  </a:lnTo>
                  <a:cubicBezTo>
                    <a:pt x="2584704" y="270891"/>
                    <a:pt x="2584228" y="277082"/>
                    <a:pt x="2584228" y="284702"/>
                  </a:cubicBezTo>
                  <a:cubicBezTo>
                    <a:pt x="2584228" y="318421"/>
                    <a:pt x="2609374" y="338328"/>
                    <a:pt x="2643569" y="338328"/>
                  </a:cubicBezTo>
                  <a:lnTo>
                    <a:pt x="2675858" y="338328"/>
                  </a:lnTo>
                  <a:lnTo>
                    <a:pt x="2685860" y="288512"/>
                  </a:lnTo>
                  <a:lnTo>
                    <a:pt x="2661666" y="288512"/>
                  </a:lnTo>
                  <a:cubicBezTo>
                    <a:pt x="2648807" y="288512"/>
                    <a:pt x="2643569" y="283273"/>
                    <a:pt x="2643569" y="274225"/>
                  </a:cubicBezTo>
                  <a:cubicBezTo>
                    <a:pt x="2643569" y="270415"/>
                    <a:pt x="2644045" y="268033"/>
                    <a:pt x="2644997" y="263747"/>
                  </a:cubicBezTo>
                  <a:lnTo>
                    <a:pt x="2697766" y="0"/>
                  </a:lnTo>
                  <a:close/>
                  <a:moveTo>
                    <a:pt x="2514791" y="94583"/>
                  </a:moveTo>
                  <a:cubicBezTo>
                    <a:pt x="2514791" y="120301"/>
                    <a:pt x="2496217" y="151638"/>
                    <a:pt x="2455355" y="151638"/>
                  </a:cubicBezTo>
                  <a:lnTo>
                    <a:pt x="2399253" y="151638"/>
                  </a:lnTo>
                  <a:lnTo>
                    <a:pt x="2418779" y="55531"/>
                  </a:lnTo>
                  <a:lnTo>
                    <a:pt x="2476786" y="55531"/>
                  </a:lnTo>
                  <a:cubicBezTo>
                    <a:pt x="2504885" y="55531"/>
                    <a:pt x="2514791" y="73152"/>
                    <a:pt x="2514791" y="94583"/>
                  </a:cubicBezTo>
                  <a:moveTo>
                    <a:pt x="2578037" y="89345"/>
                  </a:moveTo>
                  <a:cubicBezTo>
                    <a:pt x="2578037" y="36576"/>
                    <a:pt x="2544795" y="0"/>
                    <a:pt x="2487359" y="0"/>
                  </a:cubicBezTo>
                  <a:lnTo>
                    <a:pt x="2367058" y="0"/>
                  </a:lnTo>
                  <a:lnTo>
                    <a:pt x="2299049" y="338328"/>
                  </a:lnTo>
                  <a:lnTo>
                    <a:pt x="2361819" y="338328"/>
                  </a:lnTo>
                  <a:lnTo>
                    <a:pt x="2387918" y="207169"/>
                  </a:lnTo>
                  <a:lnTo>
                    <a:pt x="2453069" y="207169"/>
                  </a:lnTo>
                  <a:cubicBezTo>
                    <a:pt x="2534317" y="207169"/>
                    <a:pt x="2578037" y="149733"/>
                    <a:pt x="2578037" y="89345"/>
                  </a:cubicBezTo>
                  <a:moveTo>
                    <a:pt x="2105501" y="173546"/>
                  </a:moveTo>
                  <a:cubicBezTo>
                    <a:pt x="2105501" y="181165"/>
                    <a:pt x="2104073" y="192596"/>
                    <a:pt x="2101215" y="207740"/>
                  </a:cubicBezTo>
                  <a:cubicBezTo>
                    <a:pt x="2092643" y="252413"/>
                    <a:pt x="2079307" y="275272"/>
                    <a:pt x="2048923" y="275272"/>
                  </a:cubicBezTo>
                  <a:cubicBezTo>
                    <a:pt x="2027111" y="275272"/>
                    <a:pt x="2019490" y="260985"/>
                    <a:pt x="2019490" y="242506"/>
                  </a:cubicBezTo>
                  <a:cubicBezTo>
                    <a:pt x="2019490" y="234887"/>
                    <a:pt x="2020919" y="223456"/>
                    <a:pt x="2023777" y="208312"/>
                  </a:cubicBezTo>
                  <a:cubicBezTo>
                    <a:pt x="2032349" y="163639"/>
                    <a:pt x="2045589" y="140779"/>
                    <a:pt x="2076069" y="140779"/>
                  </a:cubicBezTo>
                  <a:cubicBezTo>
                    <a:pt x="2096072" y="140684"/>
                    <a:pt x="2105501" y="152971"/>
                    <a:pt x="2105501" y="173546"/>
                  </a:cubicBezTo>
                  <a:lnTo>
                    <a:pt x="2105501" y="173546"/>
                  </a:lnTo>
                  <a:close/>
                  <a:moveTo>
                    <a:pt x="2183035" y="90773"/>
                  </a:moveTo>
                  <a:lnTo>
                    <a:pt x="2125980" y="90773"/>
                  </a:lnTo>
                  <a:lnTo>
                    <a:pt x="2121218" y="115919"/>
                  </a:lnTo>
                  <a:cubicBezTo>
                    <a:pt x="2109788" y="97346"/>
                    <a:pt x="2090833" y="87821"/>
                    <a:pt x="2065115" y="87821"/>
                  </a:cubicBezTo>
                  <a:cubicBezTo>
                    <a:pt x="2042827" y="87821"/>
                    <a:pt x="2020443" y="94012"/>
                    <a:pt x="2001964" y="112490"/>
                  </a:cubicBezTo>
                  <a:cubicBezTo>
                    <a:pt x="1983010" y="131445"/>
                    <a:pt x="1973485" y="160020"/>
                    <a:pt x="1964912" y="207550"/>
                  </a:cubicBezTo>
                  <a:cubicBezTo>
                    <a:pt x="1961102" y="228505"/>
                    <a:pt x="1958721" y="246031"/>
                    <a:pt x="1958721" y="257937"/>
                  </a:cubicBezTo>
                  <a:cubicBezTo>
                    <a:pt x="1958721" y="304514"/>
                    <a:pt x="1990535" y="327755"/>
                    <a:pt x="2027111" y="327755"/>
                  </a:cubicBezTo>
                  <a:cubicBezTo>
                    <a:pt x="2051876" y="327755"/>
                    <a:pt x="2069402" y="318230"/>
                    <a:pt x="2082260" y="303086"/>
                  </a:cubicBezTo>
                  <a:lnTo>
                    <a:pt x="2077022" y="328231"/>
                  </a:lnTo>
                  <a:cubicBezTo>
                    <a:pt x="2070354" y="360140"/>
                    <a:pt x="2049494" y="381953"/>
                    <a:pt x="2016633" y="381953"/>
                  </a:cubicBezTo>
                  <a:cubicBezTo>
                    <a:pt x="1993392" y="381953"/>
                    <a:pt x="1982914" y="370999"/>
                    <a:pt x="1975295" y="362426"/>
                  </a:cubicBezTo>
                  <a:lnTo>
                    <a:pt x="1934432" y="398050"/>
                  </a:lnTo>
                  <a:cubicBezTo>
                    <a:pt x="1955387" y="421767"/>
                    <a:pt x="1980533" y="431768"/>
                    <a:pt x="2016633" y="431768"/>
                  </a:cubicBezTo>
                  <a:cubicBezTo>
                    <a:pt x="2073688" y="431768"/>
                    <a:pt x="2121218" y="400907"/>
                    <a:pt x="2135505" y="328613"/>
                  </a:cubicBezTo>
                  <a:lnTo>
                    <a:pt x="2183035" y="90773"/>
                  </a:lnTo>
                  <a:close/>
                  <a:moveTo>
                    <a:pt x="1924431" y="156305"/>
                  </a:moveTo>
                  <a:cubicBezTo>
                    <a:pt x="1924431" y="107347"/>
                    <a:pt x="1890236" y="87916"/>
                    <a:pt x="1861280" y="87916"/>
                  </a:cubicBezTo>
                  <a:cubicBezTo>
                    <a:pt x="1835563" y="87916"/>
                    <a:pt x="1811846" y="97441"/>
                    <a:pt x="1796129" y="114490"/>
                  </a:cubicBezTo>
                  <a:lnTo>
                    <a:pt x="1800415" y="90773"/>
                  </a:lnTo>
                  <a:lnTo>
                    <a:pt x="1743837" y="90773"/>
                  </a:lnTo>
                  <a:lnTo>
                    <a:pt x="1694402" y="338328"/>
                  </a:lnTo>
                  <a:lnTo>
                    <a:pt x="1753362" y="338328"/>
                  </a:lnTo>
                  <a:lnTo>
                    <a:pt x="1783747" y="188119"/>
                  </a:lnTo>
                  <a:cubicBezTo>
                    <a:pt x="1791367" y="149066"/>
                    <a:pt x="1816989" y="140589"/>
                    <a:pt x="1834134" y="140589"/>
                  </a:cubicBezTo>
                  <a:cubicBezTo>
                    <a:pt x="1849374" y="140589"/>
                    <a:pt x="1863566" y="150114"/>
                    <a:pt x="1863566" y="171450"/>
                  </a:cubicBezTo>
                  <a:cubicBezTo>
                    <a:pt x="1863566" y="176213"/>
                    <a:pt x="1862614" y="181928"/>
                    <a:pt x="1861661" y="187642"/>
                  </a:cubicBezTo>
                  <a:lnTo>
                    <a:pt x="1831277" y="338328"/>
                  </a:lnTo>
                  <a:lnTo>
                    <a:pt x="1890141" y="338328"/>
                  </a:lnTo>
                  <a:lnTo>
                    <a:pt x="1921002" y="183832"/>
                  </a:lnTo>
                  <a:cubicBezTo>
                    <a:pt x="1923002" y="175831"/>
                    <a:pt x="1924431" y="165354"/>
                    <a:pt x="1924431" y="156305"/>
                  </a:cubicBezTo>
                  <a:moveTo>
                    <a:pt x="1702022" y="953"/>
                  </a:moveTo>
                  <a:lnTo>
                    <a:pt x="1641157" y="953"/>
                  </a:lnTo>
                  <a:lnTo>
                    <a:pt x="1631632" y="49816"/>
                  </a:lnTo>
                  <a:lnTo>
                    <a:pt x="1692021" y="49816"/>
                  </a:lnTo>
                  <a:lnTo>
                    <a:pt x="1702022" y="953"/>
                  </a:lnTo>
                  <a:close/>
                  <a:moveTo>
                    <a:pt x="1682115" y="98393"/>
                  </a:moveTo>
                  <a:lnTo>
                    <a:pt x="1623155" y="98393"/>
                  </a:lnTo>
                  <a:lnTo>
                    <a:pt x="1575149" y="338423"/>
                  </a:lnTo>
                  <a:lnTo>
                    <a:pt x="1634109" y="338423"/>
                  </a:lnTo>
                  <a:lnTo>
                    <a:pt x="1682115" y="98393"/>
                  </a:lnTo>
                  <a:close/>
                  <a:moveTo>
                    <a:pt x="1592199" y="111252"/>
                  </a:moveTo>
                  <a:cubicBezTo>
                    <a:pt x="1578864" y="95536"/>
                    <a:pt x="1563243" y="88011"/>
                    <a:pt x="1539431" y="88011"/>
                  </a:cubicBezTo>
                  <a:cubicBezTo>
                    <a:pt x="1513713" y="88011"/>
                    <a:pt x="1490472" y="98488"/>
                    <a:pt x="1476661" y="115062"/>
                  </a:cubicBezTo>
                  <a:lnTo>
                    <a:pt x="1481900" y="90869"/>
                  </a:lnTo>
                  <a:lnTo>
                    <a:pt x="1424845" y="90869"/>
                  </a:lnTo>
                  <a:lnTo>
                    <a:pt x="1375410" y="338423"/>
                  </a:lnTo>
                  <a:lnTo>
                    <a:pt x="1434370" y="338423"/>
                  </a:lnTo>
                  <a:lnTo>
                    <a:pt x="1464278" y="188690"/>
                  </a:lnTo>
                  <a:cubicBezTo>
                    <a:pt x="1469993" y="160115"/>
                    <a:pt x="1490853" y="141161"/>
                    <a:pt x="1514189" y="141161"/>
                  </a:cubicBezTo>
                  <a:cubicBezTo>
                    <a:pt x="1527048" y="141161"/>
                    <a:pt x="1535144" y="148304"/>
                    <a:pt x="1541240" y="156400"/>
                  </a:cubicBezTo>
                  <a:lnTo>
                    <a:pt x="1592199" y="111252"/>
                  </a:lnTo>
                  <a:close/>
                  <a:moveTo>
                    <a:pt x="1298067" y="176308"/>
                  </a:moveTo>
                  <a:cubicBezTo>
                    <a:pt x="1298067" y="181546"/>
                    <a:pt x="1297591" y="187738"/>
                    <a:pt x="1296638" y="192977"/>
                  </a:cubicBezTo>
                  <a:lnTo>
                    <a:pt x="1205770" y="192977"/>
                  </a:lnTo>
                  <a:cubicBezTo>
                    <a:pt x="1216724" y="152495"/>
                    <a:pt x="1237679" y="136303"/>
                    <a:pt x="1262825" y="136303"/>
                  </a:cubicBezTo>
                  <a:cubicBezTo>
                    <a:pt x="1283780" y="136398"/>
                    <a:pt x="1298067" y="150209"/>
                    <a:pt x="1298067" y="176308"/>
                  </a:cubicBezTo>
                  <a:moveTo>
                    <a:pt x="1354074" y="176308"/>
                  </a:moveTo>
                  <a:cubicBezTo>
                    <a:pt x="1354074" y="122587"/>
                    <a:pt x="1318451" y="87916"/>
                    <a:pt x="1266158" y="87916"/>
                  </a:cubicBezTo>
                  <a:cubicBezTo>
                    <a:pt x="1180529" y="87916"/>
                    <a:pt x="1140238" y="171069"/>
                    <a:pt x="1140238" y="254222"/>
                  </a:cubicBezTo>
                  <a:cubicBezTo>
                    <a:pt x="1140238" y="319373"/>
                    <a:pt x="1189101" y="341186"/>
                    <a:pt x="1231964" y="341186"/>
                  </a:cubicBezTo>
                  <a:cubicBezTo>
                    <a:pt x="1269111" y="341186"/>
                    <a:pt x="1302830" y="328803"/>
                    <a:pt x="1328452" y="305086"/>
                  </a:cubicBezTo>
                  <a:lnTo>
                    <a:pt x="1297591" y="266129"/>
                  </a:lnTo>
                  <a:cubicBezTo>
                    <a:pt x="1280446" y="282797"/>
                    <a:pt x="1262348" y="291370"/>
                    <a:pt x="1238631" y="291370"/>
                  </a:cubicBezTo>
                  <a:cubicBezTo>
                    <a:pt x="1210056" y="291370"/>
                    <a:pt x="1196340" y="274225"/>
                    <a:pt x="1196340" y="249936"/>
                  </a:cubicBezTo>
                  <a:cubicBezTo>
                    <a:pt x="1196340" y="244221"/>
                    <a:pt x="1197293" y="238030"/>
                    <a:pt x="1198245" y="232315"/>
                  </a:cubicBezTo>
                  <a:lnTo>
                    <a:pt x="1346549" y="232315"/>
                  </a:lnTo>
                  <a:cubicBezTo>
                    <a:pt x="1350740" y="213360"/>
                    <a:pt x="1354074" y="192977"/>
                    <a:pt x="1354074" y="176308"/>
                  </a:cubicBezTo>
                  <a:moveTo>
                    <a:pt x="1054227" y="176308"/>
                  </a:moveTo>
                  <a:cubicBezTo>
                    <a:pt x="1054227" y="181546"/>
                    <a:pt x="1053751" y="187738"/>
                    <a:pt x="1052798" y="192977"/>
                  </a:cubicBezTo>
                  <a:lnTo>
                    <a:pt x="961930" y="192977"/>
                  </a:lnTo>
                  <a:cubicBezTo>
                    <a:pt x="972884" y="152495"/>
                    <a:pt x="993838" y="136303"/>
                    <a:pt x="1018984" y="136303"/>
                  </a:cubicBezTo>
                  <a:cubicBezTo>
                    <a:pt x="1039940" y="136398"/>
                    <a:pt x="1054227" y="150209"/>
                    <a:pt x="1054227" y="176308"/>
                  </a:cubicBezTo>
                  <a:moveTo>
                    <a:pt x="1110234" y="176308"/>
                  </a:moveTo>
                  <a:cubicBezTo>
                    <a:pt x="1110234" y="122587"/>
                    <a:pt x="1074611" y="87916"/>
                    <a:pt x="1022318" y="87916"/>
                  </a:cubicBezTo>
                  <a:cubicBezTo>
                    <a:pt x="936688" y="87916"/>
                    <a:pt x="896398" y="171069"/>
                    <a:pt x="896398" y="254222"/>
                  </a:cubicBezTo>
                  <a:cubicBezTo>
                    <a:pt x="896398" y="319373"/>
                    <a:pt x="945261" y="341186"/>
                    <a:pt x="988124" y="341186"/>
                  </a:cubicBezTo>
                  <a:cubicBezTo>
                    <a:pt x="1025176" y="341186"/>
                    <a:pt x="1058990" y="328803"/>
                    <a:pt x="1084612" y="305086"/>
                  </a:cubicBezTo>
                  <a:lnTo>
                    <a:pt x="1053751" y="266129"/>
                  </a:lnTo>
                  <a:cubicBezTo>
                    <a:pt x="1036606" y="282797"/>
                    <a:pt x="1018604" y="291370"/>
                    <a:pt x="994791" y="291370"/>
                  </a:cubicBezTo>
                  <a:cubicBezTo>
                    <a:pt x="966216" y="291370"/>
                    <a:pt x="952500" y="274225"/>
                    <a:pt x="952500" y="249936"/>
                  </a:cubicBezTo>
                  <a:cubicBezTo>
                    <a:pt x="952500" y="244221"/>
                    <a:pt x="953453" y="238030"/>
                    <a:pt x="954405" y="232315"/>
                  </a:cubicBezTo>
                  <a:lnTo>
                    <a:pt x="1102709" y="232315"/>
                  </a:lnTo>
                  <a:cubicBezTo>
                    <a:pt x="1106900" y="213360"/>
                    <a:pt x="1110234" y="192977"/>
                    <a:pt x="1110234" y="176308"/>
                  </a:cubicBezTo>
                  <a:moveTo>
                    <a:pt x="863537" y="156305"/>
                  </a:moveTo>
                  <a:cubicBezTo>
                    <a:pt x="863537" y="107347"/>
                    <a:pt x="829342" y="87916"/>
                    <a:pt x="800386" y="87916"/>
                  </a:cubicBezTo>
                  <a:cubicBezTo>
                    <a:pt x="774763" y="87916"/>
                    <a:pt x="750951" y="97441"/>
                    <a:pt x="735235" y="114490"/>
                  </a:cubicBezTo>
                  <a:lnTo>
                    <a:pt x="739521" y="90773"/>
                  </a:lnTo>
                  <a:lnTo>
                    <a:pt x="682943" y="90773"/>
                  </a:lnTo>
                  <a:lnTo>
                    <a:pt x="633508" y="338328"/>
                  </a:lnTo>
                  <a:lnTo>
                    <a:pt x="692468" y="338328"/>
                  </a:lnTo>
                  <a:lnTo>
                    <a:pt x="722852" y="188119"/>
                  </a:lnTo>
                  <a:cubicBezTo>
                    <a:pt x="730472" y="149066"/>
                    <a:pt x="756095" y="140589"/>
                    <a:pt x="773240" y="140589"/>
                  </a:cubicBezTo>
                  <a:cubicBezTo>
                    <a:pt x="788480" y="140589"/>
                    <a:pt x="802672" y="150114"/>
                    <a:pt x="802672" y="171450"/>
                  </a:cubicBezTo>
                  <a:cubicBezTo>
                    <a:pt x="802672" y="176213"/>
                    <a:pt x="801719" y="181928"/>
                    <a:pt x="800767" y="187642"/>
                  </a:cubicBezTo>
                  <a:lnTo>
                    <a:pt x="770382" y="338328"/>
                  </a:lnTo>
                  <a:lnTo>
                    <a:pt x="829247" y="338328"/>
                  </a:lnTo>
                  <a:lnTo>
                    <a:pt x="860108" y="183832"/>
                  </a:lnTo>
                  <a:cubicBezTo>
                    <a:pt x="862108" y="175831"/>
                    <a:pt x="863537" y="165354"/>
                    <a:pt x="863537" y="156305"/>
                  </a:cubicBezTo>
                  <a:moveTo>
                    <a:pt x="553688" y="176308"/>
                  </a:moveTo>
                  <a:cubicBezTo>
                    <a:pt x="553688" y="181546"/>
                    <a:pt x="552736" y="193453"/>
                    <a:pt x="548450" y="214313"/>
                  </a:cubicBezTo>
                  <a:cubicBezTo>
                    <a:pt x="542734" y="245269"/>
                    <a:pt x="535115" y="264700"/>
                    <a:pt x="523208" y="276130"/>
                  </a:cubicBezTo>
                  <a:cubicBezTo>
                    <a:pt x="515588" y="283750"/>
                    <a:pt x="505111" y="288512"/>
                    <a:pt x="492824" y="288512"/>
                  </a:cubicBezTo>
                  <a:cubicBezTo>
                    <a:pt x="474250" y="288512"/>
                    <a:pt x="461391" y="276606"/>
                    <a:pt x="461391" y="252889"/>
                  </a:cubicBezTo>
                  <a:cubicBezTo>
                    <a:pt x="461391" y="247174"/>
                    <a:pt x="462344" y="235744"/>
                    <a:pt x="466630" y="214408"/>
                  </a:cubicBezTo>
                  <a:cubicBezTo>
                    <a:pt x="472821" y="184023"/>
                    <a:pt x="479965" y="164497"/>
                    <a:pt x="491871" y="153067"/>
                  </a:cubicBezTo>
                  <a:cubicBezTo>
                    <a:pt x="499491" y="145447"/>
                    <a:pt x="510445" y="140684"/>
                    <a:pt x="522351" y="140684"/>
                  </a:cubicBezTo>
                  <a:cubicBezTo>
                    <a:pt x="540925" y="140684"/>
                    <a:pt x="553688" y="152019"/>
                    <a:pt x="553688" y="176308"/>
                  </a:cubicBezTo>
                  <a:moveTo>
                    <a:pt x="612172" y="169640"/>
                  </a:moveTo>
                  <a:cubicBezTo>
                    <a:pt x="612172" y="112586"/>
                    <a:pt x="569881" y="87916"/>
                    <a:pt x="528542" y="87916"/>
                  </a:cubicBezTo>
                  <a:cubicBezTo>
                    <a:pt x="497110" y="87916"/>
                    <a:pt x="471011" y="98393"/>
                    <a:pt x="452438" y="116396"/>
                  </a:cubicBezTo>
                  <a:cubicBezTo>
                    <a:pt x="430625" y="137255"/>
                    <a:pt x="418719" y="162496"/>
                    <a:pt x="408242" y="214313"/>
                  </a:cubicBezTo>
                  <a:cubicBezTo>
                    <a:pt x="405860" y="225742"/>
                    <a:pt x="403003" y="244316"/>
                    <a:pt x="403003" y="259461"/>
                  </a:cubicBezTo>
                  <a:cubicBezTo>
                    <a:pt x="403003" y="316516"/>
                    <a:pt x="445294" y="341186"/>
                    <a:pt x="487109" y="341186"/>
                  </a:cubicBezTo>
                  <a:cubicBezTo>
                    <a:pt x="518541" y="341186"/>
                    <a:pt x="544163" y="330708"/>
                    <a:pt x="563213" y="312706"/>
                  </a:cubicBezTo>
                  <a:cubicBezTo>
                    <a:pt x="584549" y="291846"/>
                    <a:pt x="596932" y="266605"/>
                    <a:pt x="607409" y="214313"/>
                  </a:cubicBezTo>
                  <a:cubicBezTo>
                    <a:pt x="609314" y="203454"/>
                    <a:pt x="612172" y="184880"/>
                    <a:pt x="612172" y="169640"/>
                  </a:cubicBezTo>
                  <a:moveTo>
                    <a:pt x="401098" y="953"/>
                  </a:moveTo>
                  <a:lnTo>
                    <a:pt x="340233" y="953"/>
                  </a:lnTo>
                  <a:lnTo>
                    <a:pt x="330708" y="49816"/>
                  </a:lnTo>
                  <a:lnTo>
                    <a:pt x="391096" y="49816"/>
                  </a:lnTo>
                  <a:lnTo>
                    <a:pt x="401098" y="953"/>
                  </a:lnTo>
                  <a:close/>
                  <a:moveTo>
                    <a:pt x="381191" y="98393"/>
                  </a:moveTo>
                  <a:lnTo>
                    <a:pt x="322231" y="98393"/>
                  </a:lnTo>
                  <a:lnTo>
                    <a:pt x="274225" y="338423"/>
                  </a:lnTo>
                  <a:lnTo>
                    <a:pt x="333184" y="338423"/>
                  </a:lnTo>
                  <a:lnTo>
                    <a:pt x="381191" y="98393"/>
                  </a:lnTo>
                  <a:close/>
                  <a:moveTo>
                    <a:pt x="215741" y="94583"/>
                  </a:moveTo>
                  <a:cubicBezTo>
                    <a:pt x="215741" y="120301"/>
                    <a:pt x="197167" y="151638"/>
                    <a:pt x="156305" y="151638"/>
                  </a:cubicBezTo>
                  <a:lnTo>
                    <a:pt x="100203" y="151638"/>
                  </a:lnTo>
                  <a:lnTo>
                    <a:pt x="119729" y="55531"/>
                  </a:lnTo>
                  <a:lnTo>
                    <a:pt x="177737" y="55531"/>
                  </a:lnTo>
                  <a:cubicBezTo>
                    <a:pt x="205835" y="55531"/>
                    <a:pt x="215741" y="73152"/>
                    <a:pt x="215741" y="94583"/>
                  </a:cubicBezTo>
                  <a:moveTo>
                    <a:pt x="278987" y="89345"/>
                  </a:moveTo>
                  <a:cubicBezTo>
                    <a:pt x="278987" y="36576"/>
                    <a:pt x="245745" y="0"/>
                    <a:pt x="188214" y="0"/>
                  </a:cubicBezTo>
                  <a:lnTo>
                    <a:pt x="68008" y="0"/>
                  </a:lnTo>
                  <a:lnTo>
                    <a:pt x="0" y="338328"/>
                  </a:lnTo>
                  <a:lnTo>
                    <a:pt x="62770" y="338328"/>
                  </a:lnTo>
                  <a:lnTo>
                    <a:pt x="88868" y="207169"/>
                  </a:lnTo>
                  <a:lnTo>
                    <a:pt x="154019" y="207169"/>
                  </a:lnTo>
                  <a:cubicBezTo>
                    <a:pt x="235267" y="207169"/>
                    <a:pt x="278987" y="149733"/>
                    <a:pt x="278987" y="89345"/>
                  </a:cubicBezTo>
                </a:path>
              </a:pathLst>
            </a:custGeom>
            <a:solidFill>
              <a:srgbClr val="FF83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28" name="Gruppieren 27">
              <a:extLst>
                <a:ext uri="{FF2B5EF4-FFF2-40B4-BE49-F238E27FC236}">
                  <a16:creationId xmlns:a16="http://schemas.microsoft.com/office/drawing/2014/main" id="{848D9503-2FD0-4295-854D-D8C3FE750109}"/>
                </a:ext>
              </a:extLst>
            </p:cNvPr>
            <p:cNvGrpSpPr/>
            <p:nvPr/>
          </p:nvGrpSpPr>
          <p:grpSpPr>
            <a:xfrm>
              <a:off x="9237264" y="1690722"/>
              <a:ext cx="2576929" cy="342865"/>
              <a:chOff x="7825183" y="3513172"/>
              <a:chExt cx="2540191" cy="337977"/>
            </a:xfrm>
            <a:solidFill>
              <a:schemeClr val="bg1"/>
            </a:solidFill>
          </p:grpSpPr>
          <p:sp>
            <p:nvSpPr>
              <p:cNvPr id="30" name="Freihandform: Form 29">
                <a:extLst>
                  <a:ext uri="{FF2B5EF4-FFF2-40B4-BE49-F238E27FC236}">
                    <a16:creationId xmlns:a16="http://schemas.microsoft.com/office/drawing/2014/main" id="{430F4ECD-31DE-49EE-AD94-48E045DEE3C0}"/>
                  </a:ext>
                </a:extLst>
              </p:cNvPr>
              <p:cNvSpPr/>
              <p:nvPr/>
            </p:nvSpPr>
            <p:spPr>
              <a:xfrm>
                <a:off x="8092635" y="3606967"/>
                <a:ext cx="158000" cy="229819"/>
              </a:xfrm>
              <a:custGeom>
                <a:avLst/>
                <a:gdLst>
                  <a:gd name="connsiteX0" fmla="*/ 105061 w 104775"/>
                  <a:gd name="connsiteY0" fmla="*/ 0 h 152400"/>
                  <a:gd name="connsiteX1" fmla="*/ 110204 w 104775"/>
                  <a:gd name="connsiteY1" fmla="*/ 381 h 152400"/>
                  <a:gd name="connsiteX2" fmla="*/ 102680 w 104775"/>
                  <a:gd name="connsiteY2" fmla="*/ 37719 h 152400"/>
                  <a:gd name="connsiteX3" fmla="*/ 88868 w 104775"/>
                  <a:gd name="connsiteY3" fmla="*/ 34957 h 152400"/>
                  <a:gd name="connsiteX4" fmla="*/ 56769 w 104775"/>
                  <a:gd name="connsiteY4" fmla="*/ 64770 h 152400"/>
                  <a:gd name="connsiteX5" fmla="*/ 37910 w 104775"/>
                  <a:gd name="connsiteY5" fmla="*/ 159448 h 152400"/>
                  <a:gd name="connsiteX6" fmla="*/ 0 w 104775"/>
                  <a:gd name="connsiteY6" fmla="*/ 159448 h 152400"/>
                  <a:gd name="connsiteX7" fmla="*/ 31147 w 104775"/>
                  <a:gd name="connsiteY7" fmla="*/ 3429 h 152400"/>
                  <a:gd name="connsiteX8" fmla="*/ 67818 w 104775"/>
                  <a:gd name="connsiteY8" fmla="*/ 3429 h 152400"/>
                  <a:gd name="connsiteX9" fmla="*/ 64770 w 104775"/>
                  <a:gd name="connsiteY9" fmla="*/ 17526 h 152400"/>
                  <a:gd name="connsiteX10" fmla="*/ 105061 w 104775"/>
                  <a:gd name="connsiteY10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4775" h="152400">
                    <a:moveTo>
                      <a:pt x="105061" y="0"/>
                    </a:moveTo>
                    <a:cubicBezTo>
                      <a:pt x="106775" y="0"/>
                      <a:pt x="108966" y="190"/>
                      <a:pt x="110204" y="381"/>
                    </a:cubicBezTo>
                    <a:lnTo>
                      <a:pt x="102680" y="37719"/>
                    </a:lnTo>
                    <a:cubicBezTo>
                      <a:pt x="98107" y="35719"/>
                      <a:pt x="92964" y="34957"/>
                      <a:pt x="88868" y="34957"/>
                    </a:cubicBezTo>
                    <a:cubicBezTo>
                      <a:pt x="73914" y="34957"/>
                      <a:pt x="60484" y="46482"/>
                      <a:pt x="56769" y="64770"/>
                    </a:cubicBezTo>
                    <a:lnTo>
                      <a:pt x="37910" y="159448"/>
                    </a:lnTo>
                    <a:lnTo>
                      <a:pt x="0" y="159448"/>
                    </a:lnTo>
                    <a:lnTo>
                      <a:pt x="31147" y="3429"/>
                    </a:lnTo>
                    <a:lnTo>
                      <a:pt x="67818" y="3429"/>
                    </a:lnTo>
                    <a:lnTo>
                      <a:pt x="64770" y="17526"/>
                    </a:lnTo>
                    <a:cubicBezTo>
                      <a:pt x="73629" y="6763"/>
                      <a:pt x="88582" y="0"/>
                      <a:pt x="105061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1" name="Freihandform: Form 30">
                <a:extLst>
                  <a:ext uri="{FF2B5EF4-FFF2-40B4-BE49-F238E27FC236}">
                    <a16:creationId xmlns:a16="http://schemas.microsoft.com/office/drawing/2014/main" id="{75A46F14-91CD-47AB-AF00-4E80C70B3E0D}"/>
                  </a:ext>
                </a:extLst>
              </p:cNvPr>
              <p:cNvSpPr/>
              <p:nvPr/>
            </p:nvSpPr>
            <p:spPr>
              <a:xfrm>
                <a:off x="8484763" y="3612137"/>
                <a:ext cx="215455" cy="229819"/>
              </a:xfrm>
              <a:custGeom>
                <a:avLst/>
                <a:gdLst>
                  <a:gd name="connsiteX0" fmla="*/ 149066 w 142875"/>
                  <a:gd name="connsiteY0" fmla="*/ 0 h 152400"/>
                  <a:gd name="connsiteX1" fmla="*/ 118206 w 142875"/>
                  <a:gd name="connsiteY1" fmla="*/ 156020 h 152400"/>
                  <a:gd name="connsiteX2" fmla="*/ 81820 w 142875"/>
                  <a:gd name="connsiteY2" fmla="*/ 156020 h 152400"/>
                  <a:gd name="connsiteX3" fmla="*/ 84297 w 142875"/>
                  <a:gd name="connsiteY3" fmla="*/ 142399 h 152400"/>
                  <a:gd name="connsiteX4" fmla="*/ 40672 w 142875"/>
                  <a:gd name="connsiteY4" fmla="*/ 159449 h 152400"/>
                  <a:gd name="connsiteX5" fmla="*/ 0 w 142875"/>
                  <a:gd name="connsiteY5" fmla="*/ 115157 h 152400"/>
                  <a:gd name="connsiteX6" fmla="*/ 1810 w 142875"/>
                  <a:gd name="connsiteY6" fmla="*/ 97727 h 152400"/>
                  <a:gd name="connsiteX7" fmla="*/ 21336 w 142875"/>
                  <a:gd name="connsiteY7" fmla="*/ 0 h 152400"/>
                  <a:gd name="connsiteX8" fmla="*/ 59246 w 142875"/>
                  <a:gd name="connsiteY8" fmla="*/ 0 h 152400"/>
                  <a:gd name="connsiteX9" fmla="*/ 40291 w 142875"/>
                  <a:gd name="connsiteY9" fmla="*/ 95345 h 152400"/>
                  <a:gd name="connsiteX10" fmla="*/ 39053 w 142875"/>
                  <a:gd name="connsiteY10" fmla="*/ 105728 h 152400"/>
                  <a:gd name="connsiteX11" fmla="*/ 58008 w 142875"/>
                  <a:gd name="connsiteY11" fmla="*/ 125635 h 152400"/>
                  <a:gd name="connsiteX12" fmla="*/ 92107 w 142875"/>
                  <a:gd name="connsiteY12" fmla="*/ 95060 h 152400"/>
                  <a:gd name="connsiteX13" fmla="*/ 110966 w 142875"/>
                  <a:gd name="connsiteY13" fmla="*/ 95 h 152400"/>
                  <a:gd name="connsiteX14" fmla="*/ 149066 w 142875"/>
                  <a:gd name="connsiteY14" fmla="*/ 9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2875" h="152400">
                    <a:moveTo>
                      <a:pt x="149066" y="0"/>
                    </a:moveTo>
                    <a:lnTo>
                      <a:pt x="118206" y="156020"/>
                    </a:lnTo>
                    <a:lnTo>
                      <a:pt x="81820" y="156020"/>
                    </a:lnTo>
                    <a:lnTo>
                      <a:pt x="84297" y="142399"/>
                    </a:lnTo>
                    <a:cubicBezTo>
                      <a:pt x="73914" y="153067"/>
                      <a:pt x="57150" y="159449"/>
                      <a:pt x="40672" y="159449"/>
                    </a:cubicBezTo>
                    <a:cubicBezTo>
                      <a:pt x="22003" y="159449"/>
                      <a:pt x="0" y="146971"/>
                      <a:pt x="0" y="115157"/>
                    </a:cubicBezTo>
                    <a:cubicBezTo>
                      <a:pt x="0" y="108776"/>
                      <a:pt x="953" y="102965"/>
                      <a:pt x="1810" y="97727"/>
                    </a:cubicBezTo>
                    <a:lnTo>
                      <a:pt x="21336" y="0"/>
                    </a:lnTo>
                    <a:lnTo>
                      <a:pt x="59246" y="0"/>
                    </a:lnTo>
                    <a:lnTo>
                      <a:pt x="40291" y="95345"/>
                    </a:lnTo>
                    <a:cubicBezTo>
                      <a:pt x="39720" y="98679"/>
                      <a:pt x="39053" y="102679"/>
                      <a:pt x="39053" y="105728"/>
                    </a:cubicBezTo>
                    <a:cubicBezTo>
                      <a:pt x="39053" y="119444"/>
                      <a:pt x="48578" y="125635"/>
                      <a:pt x="58008" y="125635"/>
                    </a:cubicBezTo>
                    <a:cubicBezTo>
                      <a:pt x="68675" y="125635"/>
                      <a:pt x="87249" y="120110"/>
                      <a:pt x="92107" y="95060"/>
                    </a:cubicBezTo>
                    <a:lnTo>
                      <a:pt x="110966" y="95"/>
                    </a:lnTo>
                    <a:lnTo>
                      <a:pt x="149066" y="9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2" name="Freihandform: Form 31">
                <a:extLst>
                  <a:ext uri="{FF2B5EF4-FFF2-40B4-BE49-F238E27FC236}">
                    <a16:creationId xmlns:a16="http://schemas.microsoft.com/office/drawing/2014/main" id="{910F02BB-A419-4B29-A4A0-A23DB924CAFE}"/>
                  </a:ext>
                </a:extLst>
              </p:cNvPr>
              <p:cNvSpPr/>
              <p:nvPr/>
            </p:nvSpPr>
            <p:spPr>
              <a:xfrm>
                <a:off x="8930181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8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8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586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3" y="130588"/>
                      <a:pt x="56198" y="130588"/>
                    </a:cubicBezTo>
                    <a:cubicBezTo>
                      <a:pt x="77914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8" name="Freihandform: Form 47">
                <a:extLst>
                  <a:ext uri="{FF2B5EF4-FFF2-40B4-BE49-F238E27FC236}">
                    <a16:creationId xmlns:a16="http://schemas.microsoft.com/office/drawing/2014/main" id="{843E8934-D40D-4251-8FC5-AB957042FE84}"/>
                  </a:ext>
                </a:extLst>
              </p:cNvPr>
              <p:cNvSpPr/>
              <p:nvPr/>
            </p:nvSpPr>
            <p:spPr>
              <a:xfrm>
                <a:off x="10307919" y="3513172"/>
                <a:ext cx="57455" cy="57455"/>
              </a:xfrm>
              <a:custGeom>
                <a:avLst/>
                <a:gdLst>
                  <a:gd name="connsiteX0" fmla="*/ 23639 w 38100"/>
                  <a:gd name="connsiteY0" fmla="*/ 0 h 38100"/>
                  <a:gd name="connsiteX1" fmla="*/ 17 w 38100"/>
                  <a:gd name="connsiteY1" fmla="*/ 22670 h 38100"/>
                  <a:gd name="connsiteX2" fmla="*/ 21829 w 38100"/>
                  <a:gd name="connsiteY2" fmla="*/ 45339 h 38100"/>
                  <a:gd name="connsiteX3" fmla="*/ 45355 w 38100"/>
                  <a:gd name="connsiteY3" fmla="*/ 22670 h 38100"/>
                  <a:gd name="connsiteX4" fmla="*/ 23639 w 38100"/>
                  <a:gd name="connsiteY4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23639" y="0"/>
                    </a:moveTo>
                    <a:cubicBezTo>
                      <a:pt x="11161" y="0"/>
                      <a:pt x="493" y="10192"/>
                      <a:pt x="17" y="22670"/>
                    </a:cubicBezTo>
                    <a:cubicBezTo>
                      <a:pt x="-460" y="35242"/>
                      <a:pt x="9256" y="45339"/>
                      <a:pt x="21829" y="45339"/>
                    </a:cubicBezTo>
                    <a:cubicBezTo>
                      <a:pt x="34307" y="45339"/>
                      <a:pt x="44879" y="35147"/>
                      <a:pt x="45355" y="22670"/>
                    </a:cubicBezTo>
                    <a:cubicBezTo>
                      <a:pt x="45927" y="10096"/>
                      <a:pt x="36212" y="0"/>
                      <a:pt x="23639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9" name="Freihandform: Form 48">
                <a:extLst>
                  <a:ext uri="{FF2B5EF4-FFF2-40B4-BE49-F238E27FC236}">
                    <a16:creationId xmlns:a16="http://schemas.microsoft.com/office/drawing/2014/main" id="{722A77E8-922B-4646-8EBE-A91E7319329A}"/>
                  </a:ext>
                </a:extLst>
              </p:cNvPr>
              <p:cNvSpPr/>
              <p:nvPr/>
            </p:nvSpPr>
            <p:spPr>
              <a:xfrm>
                <a:off x="10030007" y="3606249"/>
                <a:ext cx="201091" cy="244182"/>
              </a:xfrm>
              <a:custGeom>
                <a:avLst/>
                <a:gdLst>
                  <a:gd name="connsiteX0" fmla="*/ 78962 w 133350"/>
                  <a:gd name="connsiteY0" fmla="*/ 31242 h 161925"/>
                  <a:gd name="connsiteX1" fmla="*/ 101441 w 133350"/>
                  <a:gd name="connsiteY1" fmla="*/ 57341 h 161925"/>
                  <a:gd name="connsiteX2" fmla="*/ 100679 w 133350"/>
                  <a:gd name="connsiteY2" fmla="*/ 66961 h 161925"/>
                  <a:gd name="connsiteX3" fmla="*/ 42386 w 133350"/>
                  <a:gd name="connsiteY3" fmla="*/ 66961 h 161925"/>
                  <a:gd name="connsiteX4" fmla="*/ 78962 w 133350"/>
                  <a:gd name="connsiteY4" fmla="*/ 31242 h 161925"/>
                  <a:gd name="connsiteX5" fmla="*/ 132493 w 133350"/>
                  <a:gd name="connsiteY5" fmla="*/ 94583 h 161925"/>
                  <a:gd name="connsiteX6" fmla="*/ 137541 w 133350"/>
                  <a:gd name="connsiteY6" fmla="*/ 57341 h 161925"/>
                  <a:gd name="connsiteX7" fmla="*/ 81153 w 133350"/>
                  <a:gd name="connsiteY7" fmla="*/ 0 h 161925"/>
                  <a:gd name="connsiteX8" fmla="*/ 0 w 133350"/>
                  <a:gd name="connsiteY8" fmla="*/ 107442 h 161925"/>
                  <a:gd name="connsiteX9" fmla="*/ 61913 w 133350"/>
                  <a:gd name="connsiteY9" fmla="*/ 163830 h 161925"/>
                  <a:gd name="connsiteX10" fmla="*/ 116205 w 133350"/>
                  <a:gd name="connsiteY10" fmla="*/ 153734 h 161925"/>
                  <a:gd name="connsiteX11" fmla="*/ 123158 w 133350"/>
                  <a:gd name="connsiteY11" fmla="*/ 118967 h 161925"/>
                  <a:gd name="connsiteX12" fmla="*/ 67723 w 133350"/>
                  <a:gd name="connsiteY12" fmla="*/ 131826 h 161925"/>
                  <a:gd name="connsiteX13" fmla="*/ 36005 w 133350"/>
                  <a:gd name="connsiteY13" fmla="*/ 104775 h 161925"/>
                  <a:gd name="connsiteX14" fmla="*/ 37052 w 133350"/>
                  <a:gd name="connsiteY14" fmla="*/ 94583 h 161925"/>
                  <a:gd name="connsiteX15" fmla="*/ 132493 w 133350"/>
                  <a:gd name="connsiteY15" fmla="*/ 94583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3350" h="161925">
                    <a:moveTo>
                      <a:pt x="78962" y="31242"/>
                    </a:moveTo>
                    <a:cubicBezTo>
                      <a:pt x="92678" y="31242"/>
                      <a:pt x="101441" y="40862"/>
                      <a:pt x="101441" y="57341"/>
                    </a:cubicBezTo>
                    <a:cubicBezTo>
                      <a:pt x="101441" y="60389"/>
                      <a:pt x="101155" y="63818"/>
                      <a:pt x="100679" y="66961"/>
                    </a:cubicBezTo>
                    <a:lnTo>
                      <a:pt x="42386" y="66961"/>
                    </a:lnTo>
                    <a:cubicBezTo>
                      <a:pt x="49530" y="42101"/>
                      <a:pt x="62960" y="31242"/>
                      <a:pt x="78962" y="31242"/>
                    </a:cubicBezTo>
                    <a:moveTo>
                      <a:pt x="132493" y="94583"/>
                    </a:moveTo>
                    <a:cubicBezTo>
                      <a:pt x="135255" y="82010"/>
                      <a:pt x="137541" y="68009"/>
                      <a:pt x="137541" y="57341"/>
                    </a:cubicBezTo>
                    <a:cubicBezTo>
                      <a:pt x="137541" y="22765"/>
                      <a:pt x="115062" y="0"/>
                      <a:pt x="81153" y="0"/>
                    </a:cubicBezTo>
                    <a:cubicBezTo>
                      <a:pt x="26384" y="0"/>
                      <a:pt x="0" y="53912"/>
                      <a:pt x="0" y="107442"/>
                    </a:cubicBezTo>
                    <a:cubicBezTo>
                      <a:pt x="0" y="149352"/>
                      <a:pt x="30861" y="163830"/>
                      <a:pt x="61913" y="163830"/>
                    </a:cubicBezTo>
                    <a:cubicBezTo>
                      <a:pt x="85820" y="163830"/>
                      <a:pt x="103441" y="159163"/>
                      <a:pt x="116205" y="153734"/>
                    </a:cubicBezTo>
                    <a:lnTo>
                      <a:pt x="123158" y="118967"/>
                    </a:lnTo>
                    <a:cubicBezTo>
                      <a:pt x="115919" y="122968"/>
                      <a:pt x="97727" y="131826"/>
                      <a:pt x="67723" y="131826"/>
                    </a:cubicBezTo>
                    <a:cubicBezTo>
                      <a:pt x="44387" y="131826"/>
                      <a:pt x="36100" y="120396"/>
                      <a:pt x="36005" y="104775"/>
                    </a:cubicBezTo>
                    <a:cubicBezTo>
                      <a:pt x="36005" y="101156"/>
                      <a:pt x="36481" y="98298"/>
                      <a:pt x="37052" y="94583"/>
                    </a:cubicBezTo>
                    <a:lnTo>
                      <a:pt x="132493" y="945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0" name="Freihandform: Form 49">
                <a:extLst>
                  <a:ext uri="{FF2B5EF4-FFF2-40B4-BE49-F238E27FC236}">
                    <a16:creationId xmlns:a16="http://schemas.microsoft.com/office/drawing/2014/main" id="{81A0204F-3ABC-4D2E-9DD2-9E9C80021D7B}"/>
                  </a:ext>
                </a:extLst>
              </p:cNvPr>
              <p:cNvSpPr/>
              <p:nvPr/>
            </p:nvSpPr>
            <p:spPr>
              <a:xfrm>
                <a:off x="10253506" y="3614579"/>
                <a:ext cx="100546" cy="229819"/>
              </a:xfrm>
              <a:custGeom>
                <a:avLst/>
                <a:gdLst>
                  <a:gd name="connsiteX0" fmla="*/ 68961 w 66675"/>
                  <a:gd name="connsiteY0" fmla="*/ 0 h 152400"/>
                  <a:gd name="connsiteX1" fmla="*/ 37909 w 66675"/>
                  <a:gd name="connsiteY1" fmla="*/ 154400 h 152400"/>
                  <a:gd name="connsiteX2" fmla="*/ 0 w 66675"/>
                  <a:gd name="connsiteY2" fmla="*/ 154400 h 152400"/>
                  <a:gd name="connsiteX3" fmla="*/ 30956 w 66675"/>
                  <a:gd name="connsiteY3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5" h="152400">
                    <a:moveTo>
                      <a:pt x="68961" y="0"/>
                    </a:moveTo>
                    <a:lnTo>
                      <a:pt x="37909" y="154400"/>
                    </a:lnTo>
                    <a:lnTo>
                      <a:pt x="0" y="154400"/>
                    </a:lnTo>
                    <a:lnTo>
                      <a:pt x="3095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1" name="Freihandform: Form 50">
                <a:extLst>
                  <a:ext uri="{FF2B5EF4-FFF2-40B4-BE49-F238E27FC236}">
                    <a16:creationId xmlns:a16="http://schemas.microsoft.com/office/drawing/2014/main" id="{DB957610-65F8-4D53-96B4-31F5225B9004}"/>
                  </a:ext>
                </a:extLst>
              </p:cNvPr>
              <p:cNvSpPr/>
              <p:nvPr/>
            </p:nvSpPr>
            <p:spPr>
              <a:xfrm>
                <a:off x="9516362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6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8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7052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7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340 w 133350"/>
                  <a:gd name="connsiteY16" fmla="*/ 162687 h 161925"/>
                  <a:gd name="connsiteX17" fmla="*/ 85820 w 133350"/>
                  <a:gd name="connsiteY17" fmla="*/ 147066 h 161925"/>
                  <a:gd name="connsiteX18" fmla="*/ 83344 w 133350"/>
                  <a:gd name="connsiteY18" fmla="*/ 159544 h 161925"/>
                  <a:gd name="connsiteX19" fmla="*/ 119729 w 133350"/>
                  <a:gd name="connsiteY19" fmla="*/ 159544 h 161925"/>
                  <a:gd name="connsiteX20" fmla="*/ 140018 w 133350"/>
                  <a:gd name="connsiteY20" fmla="*/ 58483 h 161925"/>
                  <a:gd name="connsiteX21" fmla="*/ 141542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964" y="117348"/>
                      <a:pt x="84011" y="122301"/>
                    </a:cubicBezTo>
                    <a:cubicBezTo>
                      <a:pt x="78200" y="128111"/>
                      <a:pt x="69628" y="132112"/>
                      <a:pt x="59246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1" y="88678"/>
                      <a:pt x="65437" y="88678"/>
                    </a:cubicBezTo>
                    <a:lnTo>
                      <a:pt x="96108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7052" y="6001"/>
                    </a:cubicBezTo>
                    <a:lnTo>
                      <a:pt x="30099" y="40291"/>
                    </a:lnTo>
                    <a:cubicBezTo>
                      <a:pt x="39814" y="36195"/>
                      <a:pt x="58103" y="31813"/>
                      <a:pt x="78391" y="31813"/>
                    </a:cubicBezTo>
                    <a:cubicBezTo>
                      <a:pt x="95345" y="31813"/>
                      <a:pt x="103347" y="38195"/>
                      <a:pt x="103347" y="48958"/>
                    </a:cubicBezTo>
                    <a:cubicBezTo>
                      <a:pt x="103347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340" y="162687"/>
                    </a:cubicBezTo>
                    <a:cubicBezTo>
                      <a:pt x="64770" y="162687"/>
                      <a:pt x="76962" y="156020"/>
                      <a:pt x="85820" y="147066"/>
                    </a:cubicBezTo>
                    <a:lnTo>
                      <a:pt x="83344" y="159544"/>
                    </a:lnTo>
                    <a:lnTo>
                      <a:pt x="119729" y="159544"/>
                    </a:lnTo>
                    <a:lnTo>
                      <a:pt x="140018" y="58483"/>
                    </a:lnTo>
                    <a:cubicBezTo>
                      <a:pt x="140875" y="54197"/>
                      <a:pt x="141542" y="48673"/>
                      <a:pt x="141542" y="44387"/>
                    </a:cubicBezTo>
                    <a:cubicBezTo>
                      <a:pt x="141542" y="10478"/>
                      <a:pt x="111729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2" name="Freihandform: Form 51">
                <a:extLst>
                  <a:ext uri="{FF2B5EF4-FFF2-40B4-BE49-F238E27FC236}">
                    <a16:creationId xmlns:a16="http://schemas.microsoft.com/office/drawing/2014/main" id="{EF9B3914-5635-4E6C-ADA5-F1BBAB4974A6}"/>
                  </a:ext>
                </a:extLst>
              </p:cNvPr>
              <p:cNvSpPr/>
              <p:nvPr/>
            </p:nvSpPr>
            <p:spPr>
              <a:xfrm>
                <a:off x="8719896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9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9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491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4" y="130588"/>
                      <a:pt x="56198" y="130588"/>
                    </a:cubicBezTo>
                    <a:cubicBezTo>
                      <a:pt x="77915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5307661D-A19C-4774-AE56-C62DD6F42972}"/>
                  </a:ext>
                </a:extLst>
              </p:cNvPr>
              <p:cNvSpPr/>
              <p:nvPr/>
            </p:nvSpPr>
            <p:spPr>
              <a:xfrm>
                <a:off x="9756954" y="3521790"/>
                <a:ext cx="287273" cy="316001"/>
              </a:xfrm>
              <a:custGeom>
                <a:avLst/>
                <a:gdLst>
                  <a:gd name="connsiteX0" fmla="*/ 12859 w 190500"/>
                  <a:gd name="connsiteY0" fmla="*/ 63246 h 209550"/>
                  <a:gd name="connsiteX1" fmla="*/ 30766 w 190500"/>
                  <a:gd name="connsiteY1" fmla="*/ 63246 h 209550"/>
                  <a:gd name="connsiteX2" fmla="*/ 34671 w 190500"/>
                  <a:gd name="connsiteY2" fmla="*/ 43720 h 209550"/>
                  <a:gd name="connsiteX3" fmla="*/ 86583 w 190500"/>
                  <a:gd name="connsiteY3" fmla="*/ 0 h 209550"/>
                  <a:gd name="connsiteX4" fmla="*/ 108776 w 190500"/>
                  <a:gd name="connsiteY4" fmla="*/ 0 h 209550"/>
                  <a:gd name="connsiteX5" fmla="*/ 102394 w 190500"/>
                  <a:gd name="connsiteY5" fmla="*/ 32099 h 209550"/>
                  <a:gd name="connsiteX6" fmla="*/ 89249 w 190500"/>
                  <a:gd name="connsiteY6" fmla="*/ 32099 h 209550"/>
                  <a:gd name="connsiteX7" fmla="*/ 71819 w 190500"/>
                  <a:gd name="connsiteY7" fmla="*/ 47720 h 209550"/>
                  <a:gd name="connsiteX8" fmla="*/ 68675 w 190500"/>
                  <a:gd name="connsiteY8" fmla="*/ 63341 h 209550"/>
                  <a:gd name="connsiteX9" fmla="*/ 120396 w 190500"/>
                  <a:gd name="connsiteY9" fmla="*/ 63341 h 209550"/>
                  <a:gd name="connsiteX10" fmla="*/ 124301 w 190500"/>
                  <a:gd name="connsiteY10" fmla="*/ 43815 h 209550"/>
                  <a:gd name="connsiteX11" fmla="*/ 176213 w 190500"/>
                  <a:gd name="connsiteY11" fmla="*/ 95 h 209550"/>
                  <a:gd name="connsiteX12" fmla="*/ 198406 w 190500"/>
                  <a:gd name="connsiteY12" fmla="*/ 95 h 209550"/>
                  <a:gd name="connsiteX13" fmla="*/ 191929 w 190500"/>
                  <a:gd name="connsiteY13" fmla="*/ 32194 h 209550"/>
                  <a:gd name="connsiteX14" fmla="*/ 178880 w 190500"/>
                  <a:gd name="connsiteY14" fmla="*/ 32194 h 209550"/>
                  <a:gd name="connsiteX15" fmla="*/ 161449 w 190500"/>
                  <a:gd name="connsiteY15" fmla="*/ 47815 h 209550"/>
                  <a:gd name="connsiteX16" fmla="*/ 158305 w 190500"/>
                  <a:gd name="connsiteY16" fmla="*/ 63437 h 209550"/>
                  <a:gd name="connsiteX17" fmla="*/ 186404 w 190500"/>
                  <a:gd name="connsiteY17" fmla="*/ 63437 h 209550"/>
                  <a:gd name="connsiteX18" fmla="*/ 180594 w 190500"/>
                  <a:gd name="connsiteY18" fmla="*/ 92488 h 209550"/>
                  <a:gd name="connsiteX19" fmla="*/ 152495 w 190500"/>
                  <a:gd name="connsiteY19" fmla="*/ 92488 h 209550"/>
                  <a:gd name="connsiteX20" fmla="*/ 127635 w 190500"/>
                  <a:gd name="connsiteY20" fmla="*/ 216217 h 209550"/>
                  <a:gd name="connsiteX21" fmla="*/ 89726 w 190500"/>
                  <a:gd name="connsiteY21" fmla="*/ 216217 h 209550"/>
                  <a:gd name="connsiteX22" fmla="*/ 114491 w 190500"/>
                  <a:gd name="connsiteY22" fmla="*/ 92488 h 209550"/>
                  <a:gd name="connsiteX23" fmla="*/ 62770 w 190500"/>
                  <a:gd name="connsiteY23" fmla="*/ 92488 h 209550"/>
                  <a:gd name="connsiteX24" fmla="*/ 37910 w 190500"/>
                  <a:gd name="connsiteY24" fmla="*/ 216217 h 209550"/>
                  <a:gd name="connsiteX25" fmla="*/ 0 w 190500"/>
                  <a:gd name="connsiteY25" fmla="*/ 216217 h 209550"/>
                  <a:gd name="connsiteX26" fmla="*/ 24861 w 190500"/>
                  <a:gd name="connsiteY26" fmla="*/ 92488 h 209550"/>
                  <a:gd name="connsiteX27" fmla="*/ 6954 w 190500"/>
                  <a:gd name="connsiteY27" fmla="*/ 92488 h 209550"/>
                  <a:gd name="connsiteX28" fmla="*/ 12859 w 190500"/>
                  <a:gd name="connsiteY28" fmla="*/ 63246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90500" h="209550">
                    <a:moveTo>
                      <a:pt x="12859" y="63246"/>
                    </a:moveTo>
                    <a:lnTo>
                      <a:pt x="30766" y="63246"/>
                    </a:lnTo>
                    <a:lnTo>
                      <a:pt x="34671" y="43720"/>
                    </a:lnTo>
                    <a:cubicBezTo>
                      <a:pt x="40291" y="15907"/>
                      <a:pt x="57245" y="0"/>
                      <a:pt x="86583" y="0"/>
                    </a:cubicBezTo>
                    <a:lnTo>
                      <a:pt x="108776" y="0"/>
                    </a:lnTo>
                    <a:lnTo>
                      <a:pt x="102394" y="32099"/>
                    </a:lnTo>
                    <a:lnTo>
                      <a:pt x="89249" y="32099"/>
                    </a:lnTo>
                    <a:cubicBezTo>
                      <a:pt x="80106" y="32099"/>
                      <a:pt x="74009" y="36957"/>
                      <a:pt x="71819" y="47720"/>
                    </a:cubicBezTo>
                    <a:lnTo>
                      <a:pt x="68675" y="63341"/>
                    </a:lnTo>
                    <a:lnTo>
                      <a:pt x="120396" y="63341"/>
                    </a:lnTo>
                    <a:lnTo>
                      <a:pt x="124301" y="43815"/>
                    </a:lnTo>
                    <a:cubicBezTo>
                      <a:pt x="129826" y="16002"/>
                      <a:pt x="146876" y="95"/>
                      <a:pt x="176213" y="95"/>
                    </a:cubicBezTo>
                    <a:lnTo>
                      <a:pt x="198406" y="95"/>
                    </a:lnTo>
                    <a:lnTo>
                      <a:pt x="191929" y="32194"/>
                    </a:lnTo>
                    <a:lnTo>
                      <a:pt x="178880" y="32194"/>
                    </a:lnTo>
                    <a:cubicBezTo>
                      <a:pt x="169736" y="32194"/>
                      <a:pt x="163545" y="37052"/>
                      <a:pt x="161449" y="47815"/>
                    </a:cubicBezTo>
                    <a:lnTo>
                      <a:pt x="158305" y="63437"/>
                    </a:lnTo>
                    <a:lnTo>
                      <a:pt x="186404" y="63437"/>
                    </a:lnTo>
                    <a:lnTo>
                      <a:pt x="180594" y="92488"/>
                    </a:lnTo>
                    <a:lnTo>
                      <a:pt x="152495" y="92488"/>
                    </a:lnTo>
                    <a:lnTo>
                      <a:pt x="127635" y="216217"/>
                    </a:lnTo>
                    <a:lnTo>
                      <a:pt x="89726" y="216217"/>
                    </a:lnTo>
                    <a:lnTo>
                      <a:pt x="114491" y="92488"/>
                    </a:lnTo>
                    <a:lnTo>
                      <a:pt x="62770" y="92488"/>
                    </a:lnTo>
                    <a:lnTo>
                      <a:pt x="37910" y="216217"/>
                    </a:lnTo>
                    <a:lnTo>
                      <a:pt x="0" y="216217"/>
                    </a:lnTo>
                    <a:lnTo>
                      <a:pt x="24861" y="92488"/>
                    </a:lnTo>
                    <a:lnTo>
                      <a:pt x="6954" y="92488"/>
                    </a:lnTo>
                    <a:lnTo>
                      <a:pt x="12859" y="632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69915B08-15B9-4840-9231-B8F5FE286B4A}"/>
                  </a:ext>
                </a:extLst>
              </p:cNvPr>
              <p:cNvSpPr/>
              <p:nvPr/>
            </p:nvSpPr>
            <p:spPr>
              <a:xfrm>
                <a:off x="8239433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5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7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6957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6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244 w 133350"/>
                  <a:gd name="connsiteY16" fmla="*/ 162687 h 161925"/>
                  <a:gd name="connsiteX17" fmla="*/ 85725 w 133350"/>
                  <a:gd name="connsiteY17" fmla="*/ 147066 h 161925"/>
                  <a:gd name="connsiteX18" fmla="*/ 83248 w 133350"/>
                  <a:gd name="connsiteY18" fmla="*/ 159544 h 161925"/>
                  <a:gd name="connsiteX19" fmla="*/ 119634 w 133350"/>
                  <a:gd name="connsiteY19" fmla="*/ 159544 h 161925"/>
                  <a:gd name="connsiteX20" fmla="*/ 139922 w 133350"/>
                  <a:gd name="connsiteY20" fmla="*/ 58483 h 161925"/>
                  <a:gd name="connsiteX21" fmla="*/ 141446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868" y="117348"/>
                      <a:pt x="84011" y="122301"/>
                    </a:cubicBezTo>
                    <a:cubicBezTo>
                      <a:pt x="78200" y="128111"/>
                      <a:pt x="69628" y="132112"/>
                      <a:pt x="59245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0" y="88678"/>
                      <a:pt x="65437" y="88678"/>
                    </a:cubicBezTo>
                    <a:lnTo>
                      <a:pt x="96107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6957" y="6001"/>
                    </a:cubicBezTo>
                    <a:lnTo>
                      <a:pt x="30099" y="40291"/>
                    </a:lnTo>
                    <a:cubicBezTo>
                      <a:pt x="39814" y="36195"/>
                      <a:pt x="58102" y="31813"/>
                      <a:pt x="78391" y="31813"/>
                    </a:cubicBezTo>
                    <a:cubicBezTo>
                      <a:pt x="95345" y="31813"/>
                      <a:pt x="103346" y="38195"/>
                      <a:pt x="103346" y="48958"/>
                    </a:cubicBezTo>
                    <a:cubicBezTo>
                      <a:pt x="103346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244" y="162687"/>
                    </a:cubicBezTo>
                    <a:cubicBezTo>
                      <a:pt x="64675" y="162687"/>
                      <a:pt x="76867" y="156020"/>
                      <a:pt x="85725" y="147066"/>
                    </a:cubicBezTo>
                    <a:lnTo>
                      <a:pt x="83248" y="159544"/>
                    </a:lnTo>
                    <a:lnTo>
                      <a:pt x="119634" y="159544"/>
                    </a:lnTo>
                    <a:lnTo>
                      <a:pt x="139922" y="58483"/>
                    </a:lnTo>
                    <a:cubicBezTo>
                      <a:pt x="140779" y="54197"/>
                      <a:pt x="141446" y="48673"/>
                      <a:pt x="141446" y="44387"/>
                    </a:cubicBezTo>
                    <a:cubicBezTo>
                      <a:pt x="141541" y="10478"/>
                      <a:pt x="111728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7B084615-8F45-45AB-802D-58EF430B4261}"/>
                  </a:ext>
                </a:extLst>
              </p:cNvPr>
              <p:cNvSpPr/>
              <p:nvPr/>
            </p:nvSpPr>
            <p:spPr>
              <a:xfrm>
                <a:off x="7825183" y="3521790"/>
                <a:ext cx="301637" cy="316001"/>
              </a:xfrm>
              <a:custGeom>
                <a:avLst/>
                <a:gdLst>
                  <a:gd name="connsiteX0" fmla="*/ 65341 w 200025"/>
                  <a:gd name="connsiteY0" fmla="*/ 92012 h 209550"/>
                  <a:gd name="connsiteX1" fmla="*/ 154210 w 200025"/>
                  <a:gd name="connsiteY1" fmla="*/ 0 h 209550"/>
                  <a:gd name="connsiteX2" fmla="*/ 205835 w 200025"/>
                  <a:gd name="connsiteY2" fmla="*/ 0 h 209550"/>
                  <a:gd name="connsiteX3" fmla="*/ 118300 w 200025"/>
                  <a:gd name="connsiteY3" fmla="*/ 86296 h 209550"/>
                  <a:gd name="connsiteX4" fmla="*/ 167450 w 200025"/>
                  <a:gd name="connsiteY4" fmla="*/ 215932 h 209550"/>
                  <a:gd name="connsiteX5" fmla="*/ 121920 w 200025"/>
                  <a:gd name="connsiteY5" fmla="*/ 215932 h 209550"/>
                  <a:gd name="connsiteX6" fmla="*/ 87344 w 200025"/>
                  <a:gd name="connsiteY6" fmla="*/ 116681 h 209550"/>
                  <a:gd name="connsiteX7" fmla="*/ 53816 w 200025"/>
                  <a:gd name="connsiteY7" fmla="*/ 149828 h 209550"/>
                  <a:gd name="connsiteX8" fmla="*/ 40481 w 200025"/>
                  <a:gd name="connsiteY8" fmla="*/ 215932 h 209550"/>
                  <a:gd name="connsiteX9" fmla="*/ 0 w 200025"/>
                  <a:gd name="connsiteY9" fmla="*/ 215932 h 209550"/>
                  <a:gd name="connsiteX10" fmla="*/ 43434 w 200025"/>
                  <a:gd name="connsiteY10" fmla="*/ 0 h 209550"/>
                  <a:gd name="connsiteX11" fmla="*/ 83820 w 200025"/>
                  <a:gd name="connsiteY1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09550">
                    <a:moveTo>
                      <a:pt x="65341" y="92012"/>
                    </a:moveTo>
                    <a:lnTo>
                      <a:pt x="154210" y="0"/>
                    </a:lnTo>
                    <a:lnTo>
                      <a:pt x="205835" y="0"/>
                    </a:lnTo>
                    <a:lnTo>
                      <a:pt x="118300" y="86296"/>
                    </a:lnTo>
                    <a:lnTo>
                      <a:pt x="167450" y="215932"/>
                    </a:lnTo>
                    <a:lnTo>
                      <a:pt x="121920" y="215932"/>
                    </a:lnTo>
                    <a:lnTo>
                      <a:pt x="87344" y="116681"/>
                    </a:lnTo>
                    <a:lnTo>
                      <a:pt x="53816" y="149828"/>
                    </a:lnTo>
                    <a:lnTo>
                      <a:pt x="40481" y="215932"/>
                    </a:lnTo>
                    <a:lnTo>
                      <a:pt x="0" y="215932"/>
                    </a:lnTo>
                    <a:lnTo>
                      <a:pt x="43434" y="0"/>
                    </a:lnTo>
                    <a:lnTo>
                      <a:pt x="8382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6" name="Freihandform: Form 55">
                <a:extLst>
                  <a:ext uri="{FF2B5EF4-FFF2-40B4-BE49-F238E27FC236}">
                    <a16:creationId xmlns:a16="http://schemas.microsoft.com/office/drawing/2014/main" id="{FF058768-8313-4FEE-AB1E-758FA5768F36}"/>
                  </a:ext>
                </a:extLst>
              </p:cNvPr>
              <p:cNvSpPr/>
              <p:nvPr/>
            </p:nvSpPr>
            <p:spPr>
              <a:xfrm>
                <a:off x="9182119" y="3521790"/>
                <a:ext cx="344728" cy="316001"/>
              </a:xfrm>
              <a:custGeom>
                <a:avLst/>
                <a:gdLst>
                  <a:gd name="connsiteX0" fmla="*/ 43434 w 228600"/>
                  <a:gd name="connsiteY0" fmla="*/ 0 h 209550"/>
                  <a:gd name="connsiteX1" fmla="*/ 80581 w 228600"/>
                  <a:gd name="connsiteY1" fmla="*/ 0 h 209550"/>
                  <a:gd name="connsiteX2" fmla="*/ 111442 w 228600"/>
                  <a:gd name="connsiteY2" fmla="*/ 116110 h 209550"/>
                  <a:gd name="connsiteX3" fmla="*/ 190214 w 228600"/>
                  <a:gd name="connsiteY3" fmla="*/ 0 h 209550"/>
                  <a:gd name="connsiteX4" fmla="*/ 228885 w 228600"/>
                  <a:gd name="connsiteY4" fmla="*/ 0 h 209550"/>
                  <a:gd name="connsiteX5" fmla="*/ 185547 w 228600"/>
                  <a:gd name="connsiteY5" fmla="*/ 216027 h 209550"/>
                  <a:gd name="connsiteX6" fmla="*/ 146018 w 228600"/>
                  <a:gd name="connsiteY6" fmla="*/ 216027 h 209550"/>
                  <a:gd name="connsiteX7" fmla="*/ 171450 w 228600"/>
                  <a:gd name="connsiteY7" fmla="*/ 89154 h 209550"/>
                  <a:gd name="connsiteX8" fmla="*/ 116967 w 228600"/>
                  <a:gd name="connsiteY8" fmla="*/ 169259 h 209550"/>
                  <a:gd name="connsiteX9" fmla="*/ 89725 w 228600"/>
                  <a:gd name="connsiteY9" fmla="*/ 169259 h 209550"/>
                  <a:gd name="connsiteX10" fmla="*/ 65246 w 228600"/>
                  <a:gd name="connsiteY10" fmla="*/ 88297 h 209550"/>
                  <a:gd name="connsiteX11" fmla="*/ 39624 w 228600"/>
                  <a:gd name="connsiteY11" fmla="*/ 216027 h 209550"/>
                  <a:gd name="connsiteX12" fmla="*/ 0 w 228600"/>
                  <a:gd name="connsiteY12" fmla="*/ 216027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209550">
                    <a:moveTo>
                      <a:pt x="43434" y="0"/>
                    </a:moveTo>
                    <a:lnTo>
                      <a:pt x="80581" y="0"/>
                    </a:lnTo>
                    <a:lnTo>
                      <a:pt x="111442" y="116110"/>
                    </a:lnTo>
                    <a:lnTo>
                      <a:pt x="190214" y="0"/>
                    </a:lnTo>
                    <a:lnTo>
                      <a:pt x="228885" y="0"/>
                    </a:lnTo>
                    <a:lnTo>
                      <a:pt x="185547" y="216027"/>
                    </a:lnTo>
                    <a:lnTo>
                      <a:pt x="146018" y="216027"/>
                    </a:lnTo>
                    <a:lnTo>
                      <a:pt x="171450" y="89154"/>
                    </a:lnTo>
                    <a:lnTo>
                      <a:pt x="116967" y="169259"/>
                    </a:lnTo>
                    <a:lnTo>
                      <a:pt x="89725" y="169259"/>
                    </a:lnTo>
                    <a:lnTo>
                      <a:pt x="65246" y="88297"/>
                    </a:lnTo>
                    <a:lnTo>
                      <a:pt x="39624" y="216027"/>
                    </a:lnTo>
                    <a:lnTo>
                      <a:pt x="0" y="21602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64" name="Regieanweisung // Allgemein">
            <a:extLst>
              <a:ext uri="{FF2B5EF4-FFF2-40B4-BE49-F238E27FC236}">
                <a16:creationId xmlns:a16="http://schemas.microsoft.com/office/drawing/2014/main" id="{7153D741-78E5-40A2-AA45-2B344BAD41AD}"/>
              </a:ext>
            </a:extLst>
          </p:cNvPr>
          <p:cNvSpPr txBox="1"/>
          <p:nvPr userDrawn="1"/>
        </p:nvSpPr>
        <p:spPr>
          <a:xfrm rot="10800000" flipH="1" flipV="1">
            <a:off x="12345887" y="0"/>
            <a:ext cx="1659495" cy="914848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 vert="horz" wrap="square" lIns="72000" tIns="72000" rIns="72000" bIns="72000" rtlCol="0" anchor="t" anchorCtr="0">
            <a:sp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>
                <a:solidFill>
                  <a:schemeClr val="bg1"/>
                </a:solidFill>
              </a:rPr>
              <a:t>Attention: </a:t>
            </a:r>
            <a:br>
              <a:rPr lang="en-US" sz="1000" b="1" dirty="0">
                <a:solidFill>
                  <a:schemeClr val="bg1"/>
                </a:solidFill>
              </a:rPr>
            </a:br>
            <a:r>
              <a:rPr lang="en-US" sz="1000" b="0" dirty="0">
                <a:solidFill>
                  <a:schemeClr val="bg1"/>
                </a:solidFill>
              </a:rPr>
              <a:t>U</a:t>
            </a:r>
            <a:r>
              <a:rPr lang="en-US" sz="1000" dirty="0">
                <a:solidFill>
                  <a:schemeClr val="bg1"/>
                </a:solidFill>
              </a:rPr>
              <a:t>se of an isolated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image required.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After inserting the picture, 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put it in the background.</a:t>
            </a:r>
          </a:p>
        </p:txBody>
      </p: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07C40921-1FA0-4A06-9ADE-B8D2A52D22BC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66" name="Linientext 05,60">
              <a:extLst>
                <a:ext uri="{FF2B5EF4-FFF2-40B4-BE49-F238E27FC236}">
                  <a16:creationId xmlns:a16="http://schemas.microsoft.com/office/drawing/2014/main" id="{BCEBCAB6-55E1-4BCC-A36F-95CC6A418C7C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7" name="Hilfslinie 12,10">
              <a:extLst>
                <a:ext uri="{FF2B5EF4-FFF2-40B4-BE49-F238E27FC236}">
                  <a16:creationId xmlns:a16="http://schemas.microsoft.com/office/drawing/2014/main" id="{FD88BA07-DEB2-4396-8C18-E5AD81ECCCB5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Linientext 12,10">
              <a:extLst>
                <a:ext uri="{FF2B5EF4-FFF2-40B4-BE49-F238E27FC236}">
                  <a16:creationId xmlns:a16="http://schemas.microsoft.com/office/drawing/2014/main" id="{C08DAC46-FE3A-497E-AFCA-A43F06B99553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69" name="Linientext 13,95">
              <a:extLst>
                <a:ext uri="{FF2B5EF4-FFF2-40B4-BE49-F238E27FC236}">
                  <a16:creationId xmlns:a16="http://schemas.microsoft.com/office/drawing/2014/main" id="{5F03171F-8321-4551-A630-09750FAA42A0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70" name="Hilfslinie 13,95">
              <a:extLst>
                <a:ext uri="{FF2B5EF4-FFF2-40B4-BE49-F238E27FC236}">
                  <a16:creationId xmlns:a16="http://schemas.microsoft.com/office/drawing/2014/main" id="{E57CF08F-365A-48B5-A024-CC7200E7DD5E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Hilfslinie 12,10">
              <a:extLst>
                <a:ext uri="{FF2B5EF4-FFF2-40B4-BE49-F238E27FC236}">
                  <a16:creationId xmlns:a16="http://schemas.microsoft.com/office/drawing/2014/main" id="{2CDDFDFC-710A-4E47-830E-F85C7E4F81FE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Linientext 12,10">
              <a:extLst>
                <a:ext uri="{FF2B5EF4-FFF2-40B4-BE49-F238E27FC236}">
                  <a16:creationId xmlns:a16="http://schemas.microsoft.com/office/drawing/2014/main" id="{4C60E638-27FD-485D-B26E-C5A3B002BC63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73" name="Linientext 13,95">
              <a:extLst>
                <a:ext uri="{FF2B5EF4-FFF2-40B4-BE49-F238E27FC236}">
                  <a16:creationId xmlns:a16="http://schemas.microsoft.com/office/drawing/2014/main" id="{3B0E3742-C3D4-4ED0-9C95-5A1EEA9EDFA7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74" name="Hilfslinie 13,95">
              <a:extLst>
                <a:ext uri="{FF2B5EF4-FFF2-40B4-BE49-F238E27FC236}">
                  <a16:creationId xmlns:a16="http://schemas.microsoft.com/office/drawing/2014/main" id="{CCFB16E6-6082-4AF2-99AF-5F3CDFCCE600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Linientext 05,60">
              <a:extLst>
                <a:ext uri="{FF2B5EF4-FFF2-40B4-BE49-F238E27FC236}">
                  <a16:creationId xmlns:a16="http://schemas.microsoft.com/office/drawing/2014/main" id="{A7199A40-6630-4FD1-BAEE-3AD3F8358A34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Linientext 05,60">
              <a:extLst>
                <a:ext uri="{FF2B5EF4-FFF2-40B4-BE49-F238E27FC236}">
                  <a16:creationId xmlns:a16="http://schemas.microsoft.com/office/drawing/2014/main" id="{B5C41076-6027-4654-A033-AE208560EFFC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Linientext 05,60">
              <a:extLst>
                <a:ext uri="{FF2B5EF4-FFF2-40B4-BE49-F238E27FC236}">
                  <a16:creationId xmlns:a16="http://schemas.microsoft.com/office/drawing/2014/main" id="{5B807855-EAFE-4C28-91C0-26E049C8D506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Linientext 05,60">
              <a:extLst>
                <a:ext uri="{FF2B5EF4-FFF2-40B4-BE49-F238E27FC236}">
                  <a16:creationId xmlns:a16="http://schemas.microsoft.com/office/drawing/2014/main" id="{0259CF6E-EF66-49CE-B18C-CFCB0E9E2808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79" name="Hilfslinie 05,60">
              <a:extLst>
                <a:ext uri="{FF2B5EF4-FFF2-40B4-BE49-F238E27FC236}">
                  <a16:creationId xmlns:a16="http://schemas.microsoft.com/office/drawing/2014/main" id="{F3D230A1-6912-472E-B0A3-DF30378DDB3F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Hilfslinie 05,60">
              <a:extLst>
                <a:ext uri="{FF2B5EF4-FFF2-40B4-BE49-F238E27FC236}">
                  <a16:creationId xmlns:a16="http://schemas.microsoft.com/office/drawing/2014/main" id="{F3297919-3B04-4B8E-A151-FEC3D55B91E3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Hilfslinie 05,60">
              <a:extLst>
                <a:ext uri="{FF2B5EF4-FFF2-40B4-BE49-F238E27FC236}">
                  <a16:creationId xmlns:a16="http://schemas.microsoft.com/office/drawing/2014/main" id="{9F6CB445-F8B3-4845-8F5C-26451A4F541D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Hilfslinie 05,60">
              <a:extLst>
                <a:ext uri="{FF2B5EF4-FFF2-40B4-BE49-F238E27FC236}">
                  <a16:creationId xmlns:a16="http://schemas.microsoft.com/office/drawing/2014/main" id="{51292379-E97C-4C6B-8CE1-F3C6D357E495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Hilfslinie 05,60">
              <a:extLst>
                <a:ext uri="{FF2B5EF4-FFF2-40B4-BE49-F238E27FC236}">
                  <a16:creationId xmlns:a16="http://schemas.microsoft.com/office/drawing/2014/main" id="{527797E4-3DA2-48C1-9686-6F42DB2C33BF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4" name="Linientext 05,60">
              <a:extLst>
                <a:ext uri="{FF2B5EF4-FFF2-40B4-BE49-F238E27FC236}">
                  <a16:creationId xmlns:a16="http://schemas.microsoft.com/office/drawing/2014/main" id="{9BDFE036-9792-449C-A9CD-069AD12F419E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85" name="Hilfslinie 05,60">
              <a:extLst>
                <a:ext uri="{FF2B5EF4-FFF2-40B4-BE49-F238E27FC236}">
                  <a16:creationId xmlns:a16="http://schemas.microsoft.com/office/drawing/2014/main" id="{D7E87D4B-25CD-4A8C-828D-7D6A7BD178B2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95234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 with Pictur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A1B0686-7F3E-4282-8088-A02D7E626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878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A1B0686-7F3E-4282-8088-A02D7E626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528D81-E54E-4B06-9D3A-CC1C83CD28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1" i="1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1C984A11-6D1C-4A8A-B931-C1705A5D8B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504" t="14593" r="-370" b="19824"/>
          <a:stretch/>
        </p:blipFill>
        <p:spPr>
          <a:xfrm>
            <a:off x="0" y="-3"/>
            <a:ext cx="8951686" cy="6858003"/>
          </a:xfrm>
          <a:prstGeom prst="rect">
            <a:avLst/>
          </a:prstGeom>
          <a:noFill/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B5A4979-EAA9-204F-8D1D-26260CD06C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268" y="1570645"/>
            <a:ext cx="4352132" cy="1828193"/>
          </a:xfrm>
        </p:spPr>
        <p:txBody>
          <a:bodyPr lIns="0" tIns="0" rIns="0" bIns="0" anchor="b">
            <a:noAutofit/>
          </a:bodyPr>
          <a:lstStyle>
            <a:lvl1pPr algn="l">
              <a:defRPr sz="4400" b="1" i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err="1"/>
              <a:t>TitLE</a:t>
            </a:r>
            <a:r>
              <a:rPr lang="en-US" dirty="0"/>
              <a:t>, Arial, </a:t>
            </a:r>
            <a:br>
              <a:rPr lang="en-US" dirty="0"/>
            </a:br>
            <a:r>
              <a:rPr lang="en-US" dirty="0"/>
              <a:t>44 </a:t>
            </a:r>
            <a:r>
              <a:rPr lang="en-US" dirty="0" err="1"/>
              <a:t>pt</a:t>
            </a:r>
            <a:r>
              <a:rPr lang="en-US" dirty="0"/>
              <a:t>, BOLD, italic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9A28CC2-AB54-8049-AA13-7EF80A6E2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6268" y="3903009"/>
            <a:ext cx="4352132" cy="30777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622FC953-9B25-4A37-9BD5-6367FCB964C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4303600"/>
            <a:ext cx="4351864" cy="246221"/>
          </a:xfrm>
        </p:spPr>
        <p:txBody>
          <a:bodyPr wrap="square" anchor="t">
            <a:spAutoFit/>
          </a:bodyPr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Author | Date, Arial, 16 </a:t>
            </a:r>
            <a:r>
              <a:rPr lang="en-US" dirty="0" err="1"/>
              <a:t>pt</a:t>
            </a:r>
            <a:endParaRPr lang="en-US" dirty="0"/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4594E96-FDFD-48DD-B7E2-01FB9F9C8387}"/>
              </a:ext>
            </a:extLst>
          </p:cNvPr>
          <p:cNvGrpSpPr/>
          <p:nvPr userDrawn="1"/>
        </p:nvGrpSpPr>
        <p:grpSpPr>
          <a:xfrm>
            <a:off x="5530625" y="5674688"/>
            <a:ext cx="1557176" cy="409371"/>
            <a:chOff x="9237264" y="1690722"/>
            <a:chExt cx="2576929" cy="677457"/>
          </a:xfrm>
        </p:grpSpPr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851BE252-F752-457C-A11B-F0F222C361D6}"/>
                </a:ext>
              </a:extLst>
            </p:cNvPr>
            <p:cNvSpPr/>
            <p:nvPr/>
          </p:nvSpPr>
          <p:spPr>
            <a:xfrm>
              <a:off x="10167480" y="2197076"/>
              <a:ext cx="1543732" cy="171103"/>
            </a:xfrm>
            <a:custGeom>
              <a:avLst/>
              <a:gdLst>
                <a:gd name="connsiteX0" fmla="*/ 3869817 w 3867150"/>
                <a:gd name="connsiteY0" fmla="*/ 118300 h 428625"/>
                <a:gd name="connsiteX1" fmla="*/ 3787617 w 3867150"/>
                <a:gd name="connsiteY1" fmla="*/ 87916 h 428625"/>
                <a:gd name="connsiteX2" fmla="*/ 3705416 w 3867150"/>
                <a:gd name="connsiteY2" fmla="*/ 116396 h 428625"/>
                <a:gd name="connsiteX3" fmla="*/ 3680270 w 3867150"/>
                <a:gd name="connsiteY3" fmla="*/ 178213 h 428625"/>
                <a:gd name="connsiteX4" fmla="*/ 3739610 w 3867150"/>
                <a:gd name="connsiteY4" fmla="*/ 234315 h 428625"/>
                <a:gd name="connsiteX5" fmla="*/ 3771995 w 3867150"/>
                <a:gd name="connsiteY5" fmla="*/ 239554 h 428625"/>
                <a:gd name="connsiteX6" fmla="*/ 3795332 w 3867150"/>
                <a:gd name="connsiteY6" fmla="*/ 260032 h 428625"/>
                <a:gd name="connsiteX7" fmla="*/ 3744944 w 3867150"/>
                <a:gd name="connsiteY7" fmla="*/ 290894 h 428625"/>
                <a:gd name="connsiteX8" fmla="*/ 3687985 w 3867150"/>
                <a:gd name="connsiteY8" fmla="*/ 267081 h 428625"/>
                <a:gd name="connsiteX9" fmla="*/ 3645694 w 3867150"/>
                <a:gd name="connsiteY9" fmla="*/ 304133 h 428625"/>
                <a:gd name="connsiteX10" fmla="*/ 3741135 w 3867150"/>
                <a:gd name="connsiteY10" fmla="*/ 341186 h 428625"/>
                <a:gd name="connsiteX11" fmla="*/ 3827145 w 3867150"/>
                <a:gd name="connsiteY11" fmla="*/ 314134 h 428625"/>
                <a:gd name="connsiteX12" fmla="*/ 3853720 w 3867150"/>
                <a:gd name="connsiteY12" fmla="*/ 254222 h 428625"/>
                <a:gd name="connsiteX13" fmla="*/ 3793903 w 3867150"/>
                <a:gd name="connsiteY13" fmla="*/ 190024 h 428625"/>
                <a:gd name="connsiteX14" fmla="*/ 3761994 w 3867150"/>
                <a:gd name="connsiteY14" fmla="*/ 184785 h 428625"/>
                <a:gd name="connsiteX15" fmla="*/ 3739134 w 3867150"/>
                <a:gd name="connsiteY15" fmla="*/ 166211 h 428625"/>
                <a:gd name="connsiteX16" fmla="*/ 3782377 w 3867150"/>
                <a:gd name="connsiteY16" fmla="*/ 136303 h 428625"/>
                <a:gd name="connsiteX17" fmla="*/ 3829431 w 3867150"/>
                <a:gd name="connsiteY17" fmla="*/ 153924 h 428625"/>
                <a:gd name="connsiteX18" fmla="*/ 3869817 w 3867150"/>
                <a:gd name="connsiteY18" fmla="*/ 118300 h 428625"/>
                <a:gd name="connsiteX19" fmla="*/ 3661220 w 3867150"/>
                <a:gd name="connsiteY19" fmla="*/ 122111 h 428625"/>
                <a:gd name="connsiteX20" fmla="*/ 3588544 w 3867150"/>
                <a:gd name="connsiteY20" fmla="*/ 87916 h 428625"/>
                <a:gd name="connsiteX21" fmla="*/ 3462623 w 3867150"/>
                <a:gd name="connsiteY21" fmla="*/ 214313 h 428625"/>
                <a:gd name="connsiteX22" fmla="*/ 3458813 w 3867150"/>
                <a:gd name="connsiteY22" fmla="*/ 252794 h 428625"/>
                <a:gd name="connsiteX23" fmla="*/ 3547586 w 3867150"/>
                <a:gd name="connsiteY23" fmla="*/ 341186 h 428625"/>
                <a:gd name="connsiteX24" fmla="*/ 3629311 w 3867150"/>
                <a:gd name="connsiteY24" fmla="*/ 309848 h 428625"/>
                <a:gd name="connsiteX25" fmla="*/ 3596545 w 3867150"/>
                <a:gd name="connsiteY25" fmla="*/ 267557 h 428625"/>
                <a:gd name="connsiteX26" fmla="*/ 3553301 w 3867150"/>
                <a:gd name="connsiteY26" fmla="*/ 288512 h 428625"/>
                <a:gd name="connsiteX27" fmla="*/ 3518154 w 3867150"/>
                <a:gd name="connsiteY27" fmla="*/ 246221 h 428625"/>
                <a:gd name="connsiteX28" fmla="*/ 3521488 w 3867150"/>
                <a:gd name="connsiteY28" fmla="*/ 214313 h 428625"/>
                <a:gd name="connsiteX29" fmla="*/ 3547586 w 3867150"/>
                <a:gd name="connsiteY29" fmla="*/ 156305 h 428625"/>
                <a:gd name="connsiteX30" fmla="*/ 3582734 w 3867150"/>
                <a:gd name="connsiteY30" fmla="*/ 140589 h 428625"/>
                <a:gd name="connsiteX31" fmla="*/ 3616928 w 3867150"/>
                <a:gd name="connsiteY31" fmla="*/ 161068 h 428625"/>
                <a:gd name="connsiteX32" fmla="*/ 3661220 w 3867150"/>
                <a:gd name="connsiteY32" fmla="*/ 122111 h 428625"/>
                <a:gd name="connsiteX33" fmla="*/ 3456813 w 3867150"/>
                <a:gd name="connsiteY33" fmla="*/ 953 h 428625"/>
                <a:gd name="connsiteX34" fmla="*/ 3395948 w 3867150"/>
                <a:gd name="connsiteY34" fmla="*/ 953 h 428625"/>
                <a:gd name="connsiteX35" fmla="*/ 3386423 w 3867150"/>
                <a:gd name="connsiteY35" fmla="*/ 49816 h 428625"/>
                <a:gd name="connsiteX36" fmla="*/ 3446812 w 3867150"/>
                <a:gd name="connsiteY36" fmla="*/ 49816 h 428625"/>
                <a:gd name="connsiteX37" fmla="*/ 3456813 w 3867150"/>
                <a:gd name="connsiteY37" fmla="*/ 953 h 428625"/>
                <a:gd name="connsiteX38" fmla="*/ 3436906 w 3867150"/>
                <a:gd name="connsiteY38" fmla="*/ 98393 h 428625"/>
                <a:gd name="connsiteX39" fmla="*/ 3377946 w 3867150"/>
                <a:gd name="connsiteY39" fmla="*/ 98393 h 428625"/>
                <a:gd name="connsiteX40" fmla="*/ 3329940 w 3867150"/>
                <a:gd name="connsiteY40" fmla="*/ 338423 h 428625"/>
                <a:gd name="connsiteX41" fmla="*/ 3388900 w 3867150"/>
                <a:gd name="connsiteY41" fmla="*/ 338423 h 428625"/>
                <a:gd name="connsiteX42" fmla="*/ 3436906 w 3867150"/>
                <a:gd name="connsiteY42" fmla="*/ 98393 h 428625"/>
                <a:gd name="connsiteX43" fmla="*/ 3328035 w 3867150"/>
                <a:gd name="connsiteY43" fmla="*/ 98393 h 428625"/>
                <a:gd name="connsiteX44" fmla="*/ 3287173 w 3867150"/>
                <a:gd name="connsiteY44" fmla="*/ 98393 h 428625"/>
                <a:gd name="connsiteX45" fmla="*/ 3301937 w 3867150"/>
                <a:gd name="connsiteY45" fmla="*/ 24289 h 428625"/>
                <a:gd name="connsiteX46" fmla="*/ 3242977 w 3867150"/>
                <a:gd name="connsiteY46" fmla="*/ 24289 h 428625"/>
                <a:gd name="connsiteX47" fmla="*/ 3228213 w 3867150"/>
                <a:gd name="connsiteY47" fmla="*/ 98393 h 428625"/>
                <a:gd name="connsiteX48" fmla="*/ 3203067 w 3867150"/>
                <a:gd name="connsiteY48" fmla="*/ 98393 h 428625"/>
                <a:gd name="connsiteX49" fmla="*/ 3194019 w 3867150"/>
                <a:gd name="connsiteY49" fmla="*/ 142970 h 428625"/>
                <a:gd name="connsiteX50" fmla="*/ 3219164 w 3867150"/>
                <a:gd name="connsiteY50" fmla="*/ 142970 h 428625"/>
                <a:gd name="connsiteX51" fmla="*/ 3194971 w 3867150"/>
                <a:gd name="connsiteY51" fmla="*/ 264223 h 428625"/>
                <a:gd name="connsiteX52" fmla="*/ 3193066 w 3867150"/>
                <a:gd name="connsiteY52" fmla="*/ 284702 h 428625"/>
                <a:gd name="connsiteX53" fmla="*/ 3252883 w 3867150"/>
                <a:gd name="connsiteY53" fmla="*/ 338328 h 428625"/>
                <a:gd name="connsiteX54" fmla="*/ 3283268 w 3867150"/>
                <a:gd name="connsiteY54" fmla="*/ 338328 h 428625"/>
                <a:gd name="connsiteX55" fmla="*/ 3293269 w 3867150"/>
                <a:gd name="connsiteY55" fmla="*/ 288988 h 428625"/>
                <a:gd name="connsiteX56" fmla="*/ 3271933 w 3867150"/>
                <a:gd name="connsiteY56" fmla="*/ 288988 h 428625"/>
                <a:gd name="connsiteX57" fmla="*/ 3252883 w 3867150"/>
                <a:gd name="connsiteY57" fmla="*/ 273748 h 428625"/>
                <a:gd name="connsiteX58" fmla="*/ 3253836 w 3867150"/>
                <a:gd name="connsiteY58" fmla="*/ 264700 h 428625"/>
                <a:gd name="connsiteX59" fmla="*/ 3278029 w 3867150"/>
                <a:gd name="connsiteY59" fmla="*/ 142970 h 428625"/>
                <a:gd name="connsiteX60" fmla="*/ 3318891 w 3867150"/>
                <a:gd name="connsiteY60" fmla="*/ 142970 h 428625"/>
                <a:gd name="connsiteX61" fmla="*/ 3328035 w 3867150"/>
                <a:gd name="connsiteY61" fmla="*/ 98393 h 428625"/>
                <a:gd name="connsiteX62" fmla="*/ 3163062 w 3867150"/>
                <a:gd name="connsiteY62" fmla="*/ 118300 h 428625"/>
                <a:gd name="connsiteX63" fmla="*/ 3080861 w 3867150"/>
                <a:gd name="connsiteY63" fmla="*/ 87916 h 428625"/>
                <a:gd name="connsiteX64" fmla="*/ 2998565 w 3867150"/>
                <a:gd name="connsiteY64" fmla="*/ 116396 h 428625"/>
                <a:gd name="connsiteX65" fmla="*/ 2973420 w 3867150"/>
                <a:gd name="connsiteY65" fmla="*/ 178213 h 428625"/>
                <a:gd name="connsiteX66" fmla="*/ 3032760 w 3867150"/>
                <a:gd name="connsiteY66" fmla="*/ 234315 h 428625"/>
                <a:gd name="connsiteX67" fmla="*/ 3065145 w 3867150"/>
                <a:gd name="connsiteY67" fmla="*/ 239554 h 428625"/>
                <a:gd name="connsiteX68" fmla="*/ 3088481 w 3867150"/>
                <a:gd name="connsiteY68" fmla="*/ 260032 h 428625"/>
                <a:gd name="connsiteX69" fmla="*/ 3037999 w 3867150"/>
                <a:gd name="connsiteY69" fmla="*/ 290894 h 428625"/>
                <a:gd name="connsiteX70" fmla="*/ 2981039 w 3867150"/>
                <a:gd name="connsiteY70" fmla="*/ 267081 h 428625"/>
                <a:gd name="connsiteX71" fmla="*/ 2938748 w 3867150"/>
                <a:gd name="connsiteY71" fmla="*/ 304133 h 428625"/>
                <a:gd name="connsiteX72" fmla="*/ 3034189 w 3867150"/>
                <a:gd name="connsiteY72" fmla="*/ 341186 h 428625"/>
                <a:gd name="connsiteX73" fmla="*/ 3120295 w 3867150"/>
                <a:gd name="connsiteY73" fmla="*/ 314134 h 428625"/>
                <a:gd name="connsiteX74" fmla="*/ 3146870 w 3867150"/>
                <a:gd name="connsiteY74" fmla="*/ 254222 h 428625"/>
                <a:gd name="connsiteX75" fmla="*/ 3087053 w 3867150"/>
                <a:gd name="connsiteY75" fmla="*/ 190024 h 428625"/>
                <a:gd name="connsiteX76" fmla="*/ 3055144 w 3867150"/>
                <a:gd name="connsiteY76" fmla="*/ 184785 h 428625"/>
                <a:gd name="connsiteX77" fmla="*/ 3032284 w 3867150"/>
                <a:gd name="connsiteY77" fmla="*/ 166211 h 428625"/>
                <a:gd name="connsiteX78" fmla="*/ 3075623 w 3867150"/>
                <a:gd name="connsiteY78" fmla="*/ 136303 h 428625"/>
                <a:gd name="connsiteX79" fmla="*/ 3122676 w 3867150"/>
                <a:gd name="connsiteY79" fmla="*/ 153924 h 428625"/>
                <a:gd name="connsiteX80" fmla="*/ 3163062 w 3867150"/>
                <a:gd name="connsiteY80" fmla="*/ 118300 h 428625"/>
                <a:gd name="connsiteX81" fmla="*/ 2858453 w 3867150"/>
                <a:gd name="connsiteY81" fmla="*/ 231934 h 428625"/>
                <a:gd name="connsiteX82" fmla="*/ 2855595 w 3867150"/>
                <a:gd name="connsiteY82" fmla="*/ 246697 h 428625"/>
                <a:gd name="connsiteX83" fmla="*/ 2840831 w 3867150"/>
                <a:gd name="connsiteY83" fmla="*/ 278035 h 428625"/>
                <a:gd name="connsiteX84" fmla="*/ 2802350 w 3867150"/>
                <a:gd name="connsiteY84" fmla="*/ 293275 h 428625"/>
                <a:gd name="connsiteX85" fmla="*/ 2770918 w 3867150"/>
                <a:gd name="connsiteY85" fmla="*/ 269938 h 428625"/>
                <a:gd name="connsiteX86" fmla="*/ 2813209 w 3867150"/>
                <a:gd name="connsiteY86" fmla="*/ 231838 h 428625"/>
                <a:gd name="connsiteX87" fmla="*/ 2858453 w 3867150"/>
                <a:gd name="connsiteY87" fmla="*/ 231838 h 428625"/>
                <a:gd name="connsiteX88" fmla="*/ 2930652 w 3867150"/>
                <a:gd name="connsiteY88" fmla="*/ 156877 h 428625"/>
                <a:gd name="connsiteX89" fmla="*/ 2842736 w 3867150"/>
                <a:gd name="connsiteY89" fmla="*/ 88011 h 428625"/>
                <a:gd name="connsiteX90" fmla="*/ 2751011 w 3867150"/>
                <a:gd name="connsiteY90" fmla="*/ 121253 h 428625"/>
                <a:gd name="connsiteX91" fmla="*/ 2781395 w 3867150"/>
                <a:gd name="connsiteY91" fmla="*/ 160687 h 428625"/>
                <a:gd name="connsiteX92" fmla="*/ 2834640 w 3867150"/>
                <a:gd name="connsiteY92" fmla="*/ 137350 h 428625"/>
                <a:gd name="connsiteX93" fmla="*/ 2871311 w 3867150"/>
                <a:gd name="connsiteY93" fmla="*/ 164021 h 428625"/>
                <a:gd name="connsiteX94" fmla="*/ 2869883 w 3867150"/>
                <a:gd name="connsiteY94" fmla="*/ 176879 h 428625"/>
                <a:gd name="connsiteX95" fmla="*/ 2866549 w 3867150"/>
                <a:gd name="connsiteY95" fmla="*/ 191643 h 428625"/>
                <a:gd name="connsiteX96" fmla="*/ 2807589 w 3867150"/>
                <a:gd name="connsiteY96" fmla="*/ 191643 h 428625"/>
                <a:gd name="connsiteX97" fmla="*/ 2735390 w 3867150"/>
                <a:gd name="connsiteY97" fmla="*/ 217265 h 428625"/>
                <a:gd name="connsiteX98" fmla="*/ 2713101 w 3867150"/>
                <a:gd name="connsiteY98" fmla="*/ 275749 h 428625"/>
                <a:gd name="connsiteX99" fmla="*/ 2783872 w 3867150"/>
                <a:gd name="connsiteY99" fmla="*/ 340805 h 428625"/>
                <a:gd name="connsiteX100" fmla="*/ 2843784 w 3867150"/>
                <a:gd name="connsiteY100" fmla="*/ 316611 h 428625"/>
                <a:gd name="connsiteX101" fmla="*/ 2839498 w 3867150"/>
                <a:gd name="connsiteY101" fmla="*/ 338423 h 428625"/>
                <a:gd name="connsiteX102" fmla="*/ 2896076 w 3867150"/>
                <a:gd name="connsiteY102" fmla="*/ 338423 h 428625"/>
                <a:gd name="connsiteX103" fmla="*/ 2928366 w 3867150"/>
                <a:gd name="connsiteY103" fmla="*/ 178784 h 428625"/>
                <a:gd name="connsiteX104" fmla="*/ 2930652 w 3867150"/>
                <a:gd name="connsiteY104" fmla="*/ 156877 h 428625"/>
                <a:gd name="connsiteX105" fmla="*/ 2697766 w 3867150"/>
                <a:gd name="connsiteY105" fmla="*/ 0 h 428625"/>
                <a:gd name="connsiteX106" fmla="*/ 2638806 w 3867150"/>
                <a:gd name="connsiteY106" fmla="*/ 0 h 428625"/>
                <a:gd name="connsiteX107" fmla="*/ 2586133 w 3867150"/>
                <a:gd name="connsiteY107" fmla="*/ 264223 h 428625"/>
                <a:gd name="connsiteX108" fmla="*/ 2584228 w 3867150"/>
                <a:gd name="connsiteY108" fmla="*/ 284702 h 428625"/>
                <a:gd name="connsiteX109" fmla="*/ 2643569 w 3867150"/>
                <a:gd name="connsiteY109" fmla="*/ 338328 h 428625"/>
                <a:gd name="connsiteX110" fmla="*/ 2675858 w 3867150"/>
                <a:gd name="connsiteY110" fmla="*/ 338328 h 428625"/>
                <a:gd name="connsiteX111" fmla="*/ 2685860 w 3867150"/>
                <a:gd name="connsiteY111" fmla="*/ 288512 h 428625"/>
                <a:gd name="connsiteX112" fmla="*/ 2661666 w 3867150"/>
                <a:gd name="connsiteY112" fmla="*/ 288512 h 428625"/>
                <a:gd name="connsiteX113" fmla="*/ 2643569 w 3867150"/>
                <a:gd name="connsiteY113" fmla="*/ 274225 h 428625"/>
                <a:gd name="connsiteX114" fmla="*/ 2644997 w 3867150"/>
                <a:gd name="connsiteY114" fmla="*/ 263747 h 428625"/>
                <a:gd name="connsiteX115" fmla="*/ 2697766 w 3867150"/>
                <a:gd name="connsiteY115" fmla="*/ 0 h 428625"/>
                <a:gd name="connsiteX116" fmla="*/ 2514791 w 3867150"/>
                <a:gd name="connsiteY116" fmla="*/ 94583 h 428625"/>
                <a:gd name="connsiteX117" fmla="*/ 2455355 w 3867150"/>
                <a:gd name="connsiteY117" fmla="*/ 151638 h 428625"/>
                <a:gd name="connsiteX118" fmla="*/ 2399253 w 3867150"/>
                <a:gd name="connsiteY118" fmla="*/ 151638 h 428625"/>
                <a:gd name="connsiteX119" fmla="*/ 2418779 w 3867150"/>
                <a:gd name="connsiteY119" fmla="*/ 55531 h 428625"/>
                <a:gd name="connsiteX120" fmla="*/ 2476786 w 3867150"/>
                <a:gd name="connsiteY120" fmla="*/ 55531 h 428625"/>
                <a:gd name="connsiteX121" fmla="*/ 2514791 w 3867150"/>
                <a:gd name="connsiteY121" fmla="*/ 94583 h 428625"/>
                <a:gd name="connsiteX122" fmla="*/ 2578037 w 3867150"/>
                <a:gd name="connsiteY122" fmla="*/ 89345 h 428625"/>
                <a:gd name="connsiteX123" fmla="*/ 2487359 w 3867150"/>
                <a:gd name="connsiteY123" fmla="*/ 0 h 428625"/>
                <a:gd name="connsiteX124" fmla="*/ 2367058 w 3867150"/>
                <a:gd name="connsiteY124" fmla="*/ 0 h 428625"/>
                <a:gd name="connsiteX125" fmla="*/ 2299049 w 3867150"/>
                <a:gd name="connsiteY125" fmla="*/ 338328 h 428625"/>
                <a:gd name="connsiteX126" fmla="*/ 2361819 w 3867150"/>
                <a:gd name="connsiteY126" fmla="*/ 338328 h 428625"/>
                <a:gd name="connsiteX127" fmla="*/ 2387918 w 3867150"/>
                <a:gd name="connsiteY127" fmla="*/ 207169 h 428625"/>
                <a:gd name="connsiteX128" fmla="*/ 2453069 w 3867150"/>
                <a:gd name="connsiteY128" fmla="*/ 207169 h 428625"/>
                <a:gd name="connsiteX129" fmla="*/ 2578037 w 3867150"/>
                <a:gd name="connsiteY129" fmla="*/ 89345 h 428625"/>
                <a:gd name="connsiteX130" fmla="*/ 2105501 w 3867150"/>
                <a:gd name="connsiteY130" fmla="*/ 173546 h 428625"/>
                <a:gd name="connsiteX131" fmla="*/ 2101215 w 3867150"/>
                <a:gd name="connsiteY131" fmla="*/ 207740 h 428625"/>
                <a:gd name="connsiteX132" fmla="*/ 2048923 w 3867150"/>
                <a:gd name="connsiteY132" fmla="*/ 275272 h 428625"/>
                <a:gd name="connsiteX133" fmla="*/ 2019490 w 3867150"/>
                <a:gd name="connsiteY133" fmla="*/ 242506 h 428625"/>
                <a:gd name="connsiteX134" fmla="*/ 2023777 w 3867150"/>
                <a:gd name="connsiteY134" fmla="*/ 208312 h 428625"/>
                <a:gd name="connsiteX135" fmla="*/ 2076069 w 3867150"/>
                <a:gd name="connsiteY135" fmla="*/ 140779 h 428625"/>
                <a:gd name="connsiteX136" fmla="*/ 2105501 w 3867150"/>
                <a:gd name="connsiteY136" fmla="*/ 173546 h 428625"/>
                <a:gd name="connsiteX137" fmla="*/ 2105501 w 3867150"/>
                <a:gd name="connsiteY137" fmla="*/ 173546 h 428625"/>
                <a:gd name="connsiteX138" fmla="*/ 2183035 w 3867150"/>
                <a:gd name="connsiteY138" fmla="*/ 90773 h 428625"/>
                <a:gd name="connsiteX139" fmla="*/ 2125980 w 3867150"/>
                <a:gd name="connsiteY139" fmla="*/ 90773 h 428625"/>
                <a:gd name="connsiteX140" fmla="*/ 2121218 w 3867150"/>
                <a:gd name="connsiteY140" fmla="*/ 115919 h 428625"/>
                <a:gd name="connsiteX141" fmla="*/ 2065115 w 3867150"/>
                <a:gd name="connsiteY141" fmla="*/ 87821 h 428625"/>
                <a:gd name="connsiteX142" fmla="*/ 2001964 w 3867150"/>
                <a:gd name="connsiteY142" fmla="*/ 112490 h 428625"/>
                <a:gd name="connsiteX143" fmla="*/ 1964912 w 3867150"/>
                <a:gd name="connsiteY143" fmla="*/ 207550 h 428625"/>
                <a:gd name="connsiteX144" fmla="*/ 1958721 w 3867150"/>
                <a:gd name="connsiteY144" fmla="*/ 257937 h 428625"/>
                <a:gd name="connsiteX145" fmla="*/ 2027111 w 3867150"/>
                <a:gd name="connsiteY145" fmla="*/ 327755 h 428625"/>
                <a:gd name="connsiteX146" fmla="*/ 2082260 w 3867150"/>
                <a:gd name="connsiteY146" fmla="*/ 303086 h 428625"/>
                <a:gd name="connsiteX147" fmla="*/ 2077022 w 3867150"/>
                <a:gd name="connsiteY147" fmla="*/ 328231 h 428625"/>
                <a:gd name="connsiteX148" fmla="*/ 2016633 w 3867150"/>
                <a:gd name="connsiteY148" fmla="*/ 381953 h 428625"/>
                <a:gd name="connsiteX149" fmla="*/ 1975295 w 3867150"/>
                <a:gd name="connsiteY149" fmla="*/ 362426 h 428625"/>
                <a:gd name="connsiteX150" fmla="*/ 1934432 w 3867150"/>
                <a:gd name="connsiteY150" fmla="*/ 398050 h 428625"/>
                <a:gd name="connsiteX151" fmla="*/ 2016633 w 3867150"/>
                <a:gd name="connsiteY151" fmla="*/ 431768 h 428625"/>
                <a:gd name="connsiteX152" fmla="*/ 2135505 w 3867150"/>
                <a:gd name="connsiteY152" fmla="*/ 328613 h 428625"/>
                <a:gd name="connsiteX153" fmla="*/ 2183035 w 3867150"/>
                <a:gd name="connsiteY153" fmla="*/ 90773 h 428625"/>
                <a:gd name="connsiteX154" fmla="*/ 1924431 w 3867150"/>
                <a:gd name="connsiteY154" fmla="*/ 156305 h 428625"/>
                <a:gd name="connsiteX155" fmla="*/ 1861280 w 3867150"/>
                <a:gd name="connsiteY155" fmla="*/ 87916 h 428625"/>
                <a:gd name="connsiteX156" fmla="*/ 1796129 w 3867150"/>
                <a:gd name="connsiteY156" fmla="*/ 114490 h 428625"/>
                <a:gd name="connsiteX157" fmla="*/ 1800415 w 3867150"/>
                <a:gd name="connsiteY157" fmla="*/ 90773 h 428625"/>
                <a:gd name="connsiteX158" fmla="*/ 1743837 w 3867150"/>
                <a:gd name="connsiteY158" fmla="*/ 90773 h 428625"/>
                <a:gd name="connsiteX159" fmla="*/ 1694402 w 3867150"/>
                <a:gd name="connsiteY159" fmla="*/ 338328 h 428625"/>
                <a:gd name="connsiteX160" fmla="*/ 1753362 w 3867150"/>
                <a:gd name="connsiteY160" fmla="*/ 338328 h 428625"/>
                <a:gd name="connsiteX161" fmla="*/ 1783747 w 3867150"/>
                <a:gd name="connsiteY161" fmla="*/ 188119 h 428625"/>
                <a:gd name="connsiteX162" fmla="*/ 1834134 w 3867150"/>
                <a:gd name="connsiteY162" fmla="*/ 140589 h 428625"/>
                <a:gd name="connsiteX163" fmla="*/ 1863566 w 3867150"/>
                <a:gd name="connsiteY163" fmla="*/ 171450 h 428625"/>
                <a:gd name="connsiteX164" fmla="*/ 1861661 w 3867150"/>
                <a:gd name="connsiteY164" fmla="*/ 187642 h 428625"/>
                <a:gd name="connsiteX165" fmla="*/ 1831277 w 3867150"/>
                <a:gd name="connsiteY165" fmla="*/ 338328 h 428625"/>
                <a:gd name="connsiteX166" fmla="*/ 1890141 w 3867150"/>
                <a:gd name="connsiteY166" fmla="*/ 338328 h 428625"/>
                <a:gd name="connsiteX167" fmla="*/ 1921002 w 3867150"/>
                <a:gd name="connsiteY167" fmla="*/ 183832 h 428625"/>
                <a:gd name="connsiteX168" fmla="*/ 1924431 w 3867150"/>
                <a:gd name="connsiteY168" fmla="*/ 156305 h 428625"/>
                <a:gd name="connsiteX169" fmla="*/ 1702022 w 3867150"/>
                <a:gd name="connsiteY169" fmla="*/ 953 h 428625"/>
                <a:gd name="connsiteX170" fmla="*/ 1641157 w 3867150"/>
                <a:gd name="connsiteY170" fmla="*/ 953 h 428625"/>
                <a:gd name="connsiteX171" fmla="*/ 1631632 w 3867150"/>
                <a:gd name="connsiteY171" fmla="*/ 49816 h 428625"/>
                <a:gd name="connsiteX172" fmla="*/ 1692021 w 3867150"/>
                <a:gd name="connsiteY172" fmla="*/ 49816 h 428625"/>
                <a:gd name="connsiteX173" fmla="*/ 1702022 w 3867150"/>
                <a:gd name="connsiteY173" fmla="*/ 953 h 428625"/>
                <a:gd name="connsiteX174" fmla="*/ 1682115 w 3867150"/>
                <a:gd name="connsiteY174" fmla="*/ 98393 h 428625"/>
                <a:gd name="connsiteX175" fmla="*/ 1623155 w 3867150"/>
                <a:gd name="connsiteY175" fmla="*/ 98393 h 428625"/>
                <a:gd name="connsiteX176" fmla="*/ 1575149 w 3867150"/>
                <a:gd name="connsiteY176" fmla="*/ 338423 h 428625"/>
                <a:gd name="connsiteX177" fmla="*/ 1634109 w 3867150"/>
                <a:gd name="connsiteY177" fmla="*/ 338423 h 428625"/>
                <a:gd name="connsiteX178" fmla="*/ 1682115 w 3867150"/>
                <a:gd name="connsiteY178" fmla="*/ 98393 h 428625"/>
                <a:gd name="connsiteX179" fmla="*/ 1592199 w 3867150"/>
                <a:gd name="connsiteY179" fmla="*/ 111252 h 428625"/>
                <a:gd name="connsiteX180" fmla="*/ 1539431 w 3867150"/>
                <a:gd name="connsiteY180" fmla="*/ 88011 h 428625"/>
                <a:gd name="connsiteX181" fmla="*/ 1476661 w 3867150"/>
                <a:gd name="connsiteY181" fmla="*/ 115062 h 428625"/>
                <a:gd name="connsiteX182" fmla="*/ 1481900 w 3867150"/>
                <a:gd name="connsiteY182" fmla="*/ 90869 h 428625"/>
                <a:gd name="connsiteX183" fmla="*/ 1424845 w 3867150"/>
                <a:gd name="connsiteY183" fmla="*/ 90869 h 428625"/>
                <a:gd name="connsiteX184" fmla="*/ 1375410 w 3867150"/>
                <a:gd name="connsiteY184" fmla="*/ 338423 h 428625"/>
                <a:gd name="connsiteX185" fmla="*/ 1434370 w 3867150"/>
                <a:gd name="connsiteY185" fmla="*/ 338423 h 428625"/>
                <a:gd name="connsiteX186" fmla="*/ 1464278 w 3867150"/>
                <a:gd name="connsiteY186" fmla="*/ 188690 h 428625"/>
                <a:gd name="connsiteX187" fmla="*/ 1514189 w 3867150"/>
                <a:gd name="connsiteY187" fmla="*/ 141161 h 428625"/>
                <a:gd name="connsiteX188" fmla="*/ 1541240 w 3867150"/>
                <a:gd name="connsiteY188" fmla="*/ 156400 h 428625"/>
                <a:gd name="connsiteX189" fmla="*/ 1592199 w 3867150"/>
                <a:gd name="connsiteY189" fmla="*/ 111252 h 428625"/>
                <a:gd name="connsiteX190" fmla="*/ 1298067 w 3867150"/>
                <a:gd name="connsiteY190" fmla="*/ 176308 h 428625"/>
                <a:gd name="connsiteX191" fmla="*/ 1296638 w 3867150"/>
                <a:gd name="connsiteY191" fmla="*/ 192977 h 428625"/>
                <a:gd name="connsiteX192" fmla="*/ 1205770 w 3867150"/>
                <a:gd name="connsiteY192" fmla="*/ 192977 h 428625"/>
                <a:gd name="connsiteX193" fmla="*/ 1262825 w 3867150"/>
                <a:gd name="connsiteY193" fmla="*/ 136303 h 428625"/>
                <a:gd name="connsiteX194" fmla="*/ 1298067 w 3867150"/>
                <a:gd name="connsiteY194" fmla="*/ 176308 h 428625"/>
                <a:gd name="connsiteX195" fmla="*/ 1354074 w 3867150"/>
                <a:gd name="connsiteY195" fmla="*/ 176308 h 428625"/>
                <a:gd name="connsiteX196" fmla="*/ 1266158 w 3867150"/>
                <a:gd name="connsiteY196" fmla="*/ 87916 h 428625"/>
                <a:gd name="connsiteX197" fmla="*/ 1140238 w 3867150"/>
                <a:gd name="connsiteY197" fmla="*/ 254222 h 428625"/>
                <a:gd name="connsiteX198" fmla="*/ 1231964 w 3867150"/>
                <a:gd name="connsiteY198" fmla="*/ 341186 h 428625"/>
                <a:gd name="connsiteX199" fmla="*/ 1328452 w 3867150"/>
                <a:gd name="connsiteY199" fmla="*/ 305086 h 428625"/>
                <a:gd name="connsiteX200" fmla="*/ 1297591 w 3867150"/>
                <a:gd name="connsiteY200" fmla="*/ 266129 h 428625"/>
                <a:gd name="connsiteX201" fmla="*/ 1238631 w 3867150"/>
                <a:gd name="connsiteY201" fmla="*/ 291370 h 428625"/>
                <a:gd name="connsiteX202" fmla="*/ 1196340 w 3867150"/>
                <a:gd name="connsiteY202" fmla="*/ 249936 h 428625"/>
                <a:gd name="connsiteX203" fmla="*/ 1198245 w 3867150"/>
                <a:gd name="connsiteY203" fmla="*/ 232315 h 428625"/>
                <a:gd name="connsiteX204" fmla="*/ 1346549 w 3867150"/>
                <a:gd name="connsiteY204" fmla="*/ 232315 h 428625"/>
                <a:gd name="connsiteX205" fmla="*/ 1354074 w 3867150"/>
                <a:gd name="connsiteY205" fmla="*/ 176308 h 428625"/>
                <a:gd name="connsiteX206" fmla="*/ 1054227 w 3867150"/>
                <a:gd name="connsiteY206" fmla="*/ 176308 h 428625"/>
                <a:gd name="connsiteX207" fmla="*/ 1052798 w 3867150"/>
                <a:gd name="connsiteY207" fmla="*/ 192977 h 428625"/>
                <a:gd name="connsiteX208" fmla="*/ 961930 w 3867150"/>
                <a:gd name="connsiteY208" fmla="*/ 192977 h 428625"/>
                <a:gd name="connsiteX209" fmla="*/ 1018984 w 3867150"/>
                <a:gd name="connsiteY209" fmla="*/ 136303 h 428625"/>
                <a:gd name="connsiteX210" fmla="*/ 1054227 w 3867150"/>
                <a:gd name="connsiteY210" fmla="*/ 176308 h 428625"/>
                <a:gd name="connsiteX211" fmla="*/ 1110234 w 3867150"/>
                <a:gd name="connsiteY211" fmla="*/ 176308 h 428625"/>
                <a:gd name="connsiteX212" fmla="*/ 1022318 w 3867150"/>
                <a:gd name="connsiteY212" fmla="*/ 87916 h 428625"/>
                <a:gd name="connsiteX213" fmla="*/ 896398 w 3867150"/>
                <a:gd name="connsiteY213" fmla="*/ 254222 h 428625"/>
                <a:gd name="connsiteX214" fmla="*/ 988124 w 3867150"/>
                <a:gd name="connsiteY214" fmla="*/ 341186 h 428625"/>
                <a:gd name="connsiteX215" fmla="*/ 1084612 w 3867150"/>
                <a:gd name="connsiteY215" fmla="*/ 305086 h 428625"/>
                <a:gd name="connsiteX216" fmla="*/ 1053751 w 3867150"/>
                <a:gd name="connsiteY216" fmla="*/ 266129 h 428625"/>
                <a:gd name="connsiteX217" fmla="*/ 994791 w 3867150"/>
                <a:gd name="connsiteY217" fmla="*/ 291370 h 428625"/>
                <a:gd name="connsiteX218" fmla="*/ 952500 w 3867150"/>
                <a:gd name="connsiteY218" fmla="*/ 249936 h 428625"/>
                <a:gd name="connsiteX219" fmla="*/ 954405 w 3867150"/>
                <a:gd name="connsiteY219" fmla="*/ 232315 h 428625"/>
                <a:gd name="connsiteX220" fmla="*/ 1102709 w 3867150"/>
                <a:gd name="connsiteY220" fmla="*/ 232315 h 428625"/>
                <a:gd name="connsiteX221" fmla="*/ 1110234 w 3867150"/>
                <a:gd name="connsiteY221" fmla="*/ 176308 h 428625"/>
                <a:gd name="connsiteX222" fmla="*/ 863537 w 3867150"/>
                <a:gd name="connsiteY222" fmla="*/ 156305 h 428625"/>
                <a:gd name="connsiteX223" fmla="*/ 800386 w 3867150"/>
                <a:gd name="connsiteY223" fmla="*/ 87916 h 428625"/>
                <a:gd name="connsiteX224" fmla="*/ 735235 w 3867150"/>
                <a:gd name="connsiteY224" fmla="*/ 114490 h 428625"/>
                <a:gd name="connsiteX225" fmla="*/ 739521 w 3867150"/>
                <a:gd name="connsiteY225" fmla="*/ 90773 h 428625"/>
                <a:gd name="connsiteX226" fmla="*/ 682943 w 3867150"/>
                <a:gd name="connsiteY226" fmla="*/ 90773 h 428625"/>
                <a:gd name="connsiteX227" fmla="*/ 633508 w 3867150"/>
                <a:gd name="connsiteY227" fmla="*/ 338328 h 428625"/>
                <a:gd name="connsiteX228" fmla="*/ 692468 w 3867150"/>
                <a:gd name="connsiteY228" fmla="*/ 338328 h 428625"/>
                <a:gd name="connsiteX229" fmla="*/ 722852 w 3867150"/>
                <a:gd name="connsiteY229" fmla="*/ 188119 h 428625"/>
                <a:gd name="connsiteX230" fmla="*/ 773240 w 3867150"/>
                <a:gd name="connsiteY230" fmla="*/ 140589 h 428625"/>
                <a:gd name="connsiteX231" fmla="*/ 802672 w 3867150"/>
                <a:gd name="connsiteY231" fmla="*/ 171450 h 428625"/>
                <a:gd name="connsiteX232" fmla="*/ 800767 w 3867150"/>
                <a:gd name="connsiteY232" fmla="*/ 187642 h 428625"/>
                <a:gd name="connsiteX233" fmla="*/ 770382 w 3867150"/>
                <a:gd name="connsiteY233" fmla="*/ 338328 h 428625"/>
                <a:gd name="connsiteX234" fmla="*/ 829247 w 3867150"/>
                <a:gd name="connsiteY234" fmla="*/ 338328 h 428625"/>
                <a:gd name="connsiteX235" fmla="*/ 860108 w 3867150"/>
                <a:gd name="connsiteY235" fmla="*/ 183832 h 428625"/>
                <a:gd name="connsiteX236" fmla="*/ 863537 w 3867150"/>
                <a:gd name="connsiteY236" fmla="*/ 156305 h 428625"/>
                <a:gd name="connsiteX237" fmla="*/ 553688 w 3867150"/>
                <a:gd name="connsiteY237" fmla="*/ 176308 h 428625"/>
                <a:gd name="connsiteX238" fmla="*/ 548450 w 3867150"/>
                <a:gd name="connsiteY238" fmla="*/ 214313 h 428625"/>
                <a:gd name="connsiteX239" fmla="*/ 523208 w 3867150"/>
                <a:gd name="connsiteY239" fmla="*/ 276130 h 428625"/>
                <a:gd name="connsiteX240" fmla="*/ 492824 w 3867150"/>
                <a:gd name="connsiteY240" fmla="*/ 288512 h 428625"/>
                <a:gd name="connsiteX241" fmla="*/ 461391 w 3867150"/>
                <a:gd name="connsiteY241" fmla="*/ 252889 h 428625"/>
                <a:gd name="connsiteX242" fmla="*/ 466630 w 3867150"/>
                <a:gd name="connsiteY242" fmla="*/ 214408 h 428625"/>
                <a:gd name="connsiteX243" fmla="*/ 491871 w 3867150"/>
                <a:gd name="connsiteY243" fmla="*/ 153067 h 428625"/>
                <a:gd name="connsiteX244" fmla="*/ 522351 w 3867150"/>
                <a:gd name="connsiteY244" fmla="*/ 140684 h 428625"/>
                <a:gd name="connsiteX245" fmla="*/ 553688 w 3867150"/>
                <a:gd name="connsiteY245" fmla="*/ 176308 h 428625"/>
                <a:gd name="connsiteX246" fmla="*/ 612172 w 3867150"/>
                <a:gd name="connsiteY246" fmla="*/ 169640 h 428625"/>
                <a:gd name="connsiteX247" fmla="*/ 528542 w 3867150"/>
                <a:gd name="connsiteY247" fmla="*/ 87916 h 428625"/>
                <a:gd name="connsiteX248" fmla="*/ 452438 w 3867150"/>
                <a:gd name="connsiteY248" fmla="*/ 116396 h 428625"/>
                <a:gd name="connsiteX249" fmla="*/ 408242 w 3867150"/>
                <a:gd name="connsiteY249" fmla="*/ 214313 h 428625"/>
                <a:gd name="connsiteX250" fmla="*/ 403003 w 3867150"/>
                <a:gd name="connsiteY250" fmla="*/ 259461 h 428625"/>
                <a:gd name="connsiteX251" fmla="*/ 487109 w 3867150"/>
                <a:gd name="connsiteY251" fmla="*/ 341186 h 428625"/>
                <a:gd name="connsiteX252" fmla="*/ 563213 w 3867150"/>
                <a:gd name="connsiteY252" fmla="*/ 312706 h 428625"/>
                <a:gd name="connsiteX253" fmla="*/ 607409 w 3867150"/>
                <a:gd name="connsiteY253" fmla="*/ 214313 h 428625"/>
                <a:gd name="connsiteX254" fmla="*/ 612172 w 3867150"/>
                <a:gd name="connsiteY254" fmla="*/ 169640 h 428625"/>
                <a:gd name="connsiteX255" fmla="*/ 401098 w 3867150"/>
                <a:gd name="connsiteY255" fmla="*/ 953 h 428625"/>
                <a:gd name="connsiteX256" fmla="*/ 340233 w 3867150"/>
                <a:gd name="connsiteY256" fmla="*/ 953 h 428625"/>
                <a:gd name="connsiteX257" fmla="*/ 330708 w 3867150"/>
                <a:gd name="connsiteY257" fmla="*/ 49816 h 428625"/>
                <a:gd name="connsiteX258" fmla="*/ 391096 w 3867150"/>
                <a:gd name="connsiteY258" fmla="*/ 49816 h 428625"/>
                <a:gd name="connsiteX259" fmla="*/ 401098 w 3867150"/>
                <a:gd name="connsiteY259" fmla="*/ 953 h 428625"/>
                <a:gd name="connsiteX260" fmla="*/ 381191 w 3867150"/>
                <a:gd name="connsiteY260" fmla="*/ 98393 h 428625"/>
                <a:gd name="connsiteX261" fmla="*/ 322231 w 3867150"/>
                <a:gd name="connsiteY261" fmla="*/ 98393 h 428625"/>
                <a:gd name="connsiteX262" fmla="*/ 274225 w 3867150"/>
                <a:gd name="connsiteY262" fmla="*/ 338423 h 428625"/>
                <a:gd name="connsiteX263" fmla="*/ 333184 w 3867150"/>
                <a:gd name="connsiteY263" fmla="*/ 338423 h 428625"/>
                <a:gd name="connsiteX264" fmla="*/ 381191 w 3867150"/>
                <a:gd name="connsiteY264" fmla="*/ 98393 h 428625"/>
                <a:gd name="connsiteX265" fmla="*/ 215741 w 3867150"/>
                <a:gd name="connsiteY265" fmla="*/ 94583 h 428625"/>
                <a:gd name="connsiteX266" fmla="*/ 156305 w 3867150"/>
                <a:gd name="connsiteY266" fmla="*/ 151638 h 428625"/>
                <a:gd name="connsiteX267" fmla="*/ 100203 w 3867150"/>
                <a:gd name="connsiteY267" fmla="*/ 151638 h 428625"/>
                <a:gd name="connsiteX268" fmla="*/ 119729 w 3867150"/>
                <a:gd name="connsiteY268" fmla="*/ 55531 h 428625"/>
                <a:gd name="connsiteX269" fmla="*/ 177737 w 3867150"/>
                <a:gd name="connsiteY269" fmla="*/ 55531 h 428625"/>
                <a:gd name="connsiteX270" fmla="*/ 215741 w 3867150"/>
                <a:gd name="connsiteY270" fmla="*/ 94583 h 428625"/>
                <a:gd name="connsiteX271" fmla="*/ 278987 w 3867150"/>
                <a:gd name="connsiteY271" fmla="*/ 89345 h 428625"/>
                <a:gd name="connsiteX272" fmla="*/ 188214 w 3867150"/>
                <a:gd name="connsiteY272" fmla="*/ 0 h 428625"/>
                <a:gd name="connsiteX273" fmla="*/ 68008 w 3867150"/>
                <a:gd name="connsiteY273" fmla="*/ 0 h 428625"/>
                <a:gd name="connsiteX274" fmla="*/ 0 w 3867150"/>
                <a:gd name="connsiteY274" fmla="*/ 338328 h 428625"/>
                <a:gd name="connsiteX275" fmla="*/ 62770 w 3867150"/>
                <a:gd name="connsiteY275" fmla="*/ 338328 h 428625"/>
                <a:gd name="connsiteX276" fmla="*/ 88868 w 3867150"/>
                <a:gd name="connsiteY276" fmla="*/ 207169 h 428625"/>
                <a:gd name="connsiteX277" fmla="*/ 154019 w 3867150"/>
                <a:gd name="connsiteY277" fmla="*/ 207169 h 428625"/>
                <a:gd name="connsiteX278" fmla="*/ 278987 w 3867150"/>
                <a:gd name="connsiteY278" fmla="*/ 89345 h 428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</a:cxnLst>
              <a:rect l="l" t="t" r="r" b="b"/>
              <a:pathLst>
                <a:path w="3867150" h="428625">
                  <a:moveTo>
                    <a:pt x="3869817" y="118300"/>
                  </a:moveTo>
                  <a:cubicBezTo>
                    <a:pt x="3848481" y="96488"/>
                    <a:pt x="3822764" y="87916"/>
                    <a:pt x="3787617" y="87916"/>
                  </a:cubicBezTo>
                  <a:cubicBezTo>
                    <a:pt x="3752374" y="87916"/>
                    <a:pt x="3723894" y="97917"/>
                    <a:pt x="3705416" y="116396"/>
                  </a:cubicBezTo>
                  <a:cubicBezTo>
                    <a:pt x="3688842" y="132969"/>
                    <a:pt x="3680270" y="155353"/>
                    <a:pt x="3680270" y="178213"/>
                  </a:cubicBezTo>
                  <a:cubicBezTo>
                    <a:pt x="3680270" y="201549"/>
                    <a:pt x="3694462" y="226695"/>
                    <a:pt x="3739610" y="234315"/>
                  </a:cubicBezTo>
                  <a:lnTo>
                    <a:pt x="3771995" y="239554"/>
                  </a:lnTo>
                  <a:cubicBezTo>
                    <a:pt x="3786283" y="241935"/>
                    <a:pt x="3795332" y="246697"/>
                    <a:pt x="3795332" y="260032"/>
                  </a:cubicBezTo>
                  <a:cubicBezTo>
                    <a:pt x="3795332" y="274796"/>
                    <a:pt x="3778663" y="290894"/>
                    <a:pt x="3744944" y="290894"/>
                  </a:cubicBezTo>
                  <a:cubicBezTo>
                    <a:pt x="3716941" y="290894"/>
                    <a:pt x="3700272" y="281369"/>
                    <a:pt x="3687985" y="267081"/>
                  </a:cubicBezTo>
                  <a:lnTo>
                    <a:pt x="3645694" y="304133"/>
                  </a:lnTo>
                  <a:cubicBezTo>
                    <a:pt x="3667601" y="327850"/>
                    <a:pt x="3697034" y="341186"/>
                    <a:pt x="3741135" y="341186"/>
                  </a:cubicBezTo>
                  <a:cubicBezTo>
                    <a:pt x="3773043" y="341186"/>
                    <a:pt x="3807238" y="333565"/>
                    <a:pt x="3827145" y="314134"/>
                  </a:cubicBezTo>
                  <a:cubicBezTo>
                    <a:pt x="3843338" y="298513"/>
                    <a:pt x="3853720" y="278987"/>
                    <a:pt x="3853720" y="254222"/>
                  </a:cubicBezTo>
                  <a:cubicBezTo>
                    <a:pt x="3853720" y="220028"/>
                    <a:pt x="3838004" y="197167"/>
                    <a:pt x="3793903" y="190024"/>
                  </a:cubicBezTo>
                  <a:lnTo>
                    <a:pt x="3761994" y="184785"/>
                  </a:lnTo>
                  <a:cubicBezTo>
                    <a:pt x="3746754" y="182404"/>
                    <a:pt x="3739134" y="176689"/>
                    <a:pt x="3739134" y="166211"/>
                  </a:cubicBezTo>
                  <a:cubicBezTo>
                    <a:pt x="3739134" y="150971"/>
                    <a:pt x="3752469" y="136303"/>
                    <a:pt x="3782377" y="136303"/>
                  </a:cubicBezTo>
                  <a:cubicBezTo>
                    <a:pt x="3799999" y="136303"/>
                    <a:pt x="3818001" y="142018"/>
                    <a:pt x="3829431" y="153924"/>
                  </a:cubicBezTo>
                  <a:lnTo>
                    <a:pt x="3869817" y="118300"/>
                  </a:lnTo>
                  <a:close/>
                  <a:moveTo>
                    <a:pt x="3661220" y="122111"/>
                  </a:moveTo>
                  <a:cubicBezTo>
                    <a:pt x="3646456" y="103156"/>
                    <a:pt x="3624644" y="87916"/>
                    <a:pt x="3588544" y="87916"/>
                  </a:cubicBezTo>
                  <a:cubicBezTo>
                    <a:pt x="3538157" y="87916"/>
                    <a:pt x="3481197" y="113538"/>
                    <a:pt x="3462623" y="214313"/>
                  </a:cubicBezTo>
                  <a:cubicBezTo>
                    <a:pt x="3460242" y="227171"/>
                    <a:pt x="3458813" y="240982"/>
                    <a:pt x="3458813" y="252794"/>
                  </a:cubicBezTo>
                  <a:cubicBezTo>
                    <a:pt x="3458813" y="311277"/>
                    <a:pt x="3500628" y="341186"/>
                    <a:pt x="3547586" y="341186"/>
                  </a:cubicBezTo>
                  <a:cubicBezTo>
                    <a:pt x="3579400" y="341186"/>
                    <a:pt x="3608451" y="329279"/>
                    <a:pt x="3629311" y="309848"/>
                  </a:cubicBezTo>
                  <a:lnTo>
                    <a:pt x="3596545" y="267557"/>
                  </a:lnTo>
                  <a:cubicBezTo>
                    <a:pt x="3582734" y="281369"/>
                    <a:pt x="3569875" y="288512"/>
                    <a:pt x="3553301" y="288512"/>
                  </a:cubicBezTo>
                  <a:cubicBezTo>
                    <a:pt x="3530441" y="288512"/>
                    <a:pt x="3518154" y="272320"/>
                    <a:pt x="3518154" y="246221"/>
                  </a:cubicBezTo>
                  <a:cubicBezTo>
                    <a:pt x="3518154" y="234791"/>
                    <a:pt x="3519583" y="225266"/>
                    <a:pt x="3521488" y="214313"/>
                  </a:cubicBezTo>
                  <a:cubicBezTo>
                    <a:pt x="3525774" y="190976"/>
                    <a:pt x="3534823" y="169640"/>
                    <a:pt x="3547586" y="156305"/>
                  </a:cubicBezTo>
                  <a:cubicBezTo>
                    <a:pt x="3558064" y="145352"/>
                    <a:pt x="3569970" y="140589"/>
                    <a:pt x="3582734" y="140589"/>
                  </a:cubicBezTo>
                  <a:cubicBezTo>
                    <a:pt x="3597497" y="140589"/>
                    <a:pt x="3607499" y="148209"/>
                    <a:pt x="3616928" y="161068"/>
                  </a:cubicBezTo>
                  <a:lnTo>
                    <a:pt x="3661220" y="122111"/>
                  </a:lnTo>
                  <a:close/>
                  <a:moveTo>
                    <a:pt x="3456813" y="953"/>
                  </a:moveTo>
                  <a:lnTo>
                    <a:pt x="3395948" y="953"/>
                  </a:lnTo>
                  <a:lnTo>
                    <a:pt x="3386423" y="49816"/>
                  </a:lnTo>
                  <a:lnTo>
                    <a:pt x="3446812" y="49816"/>
                  </a:lnTo>
                  <a:lnTo>
                    <a:pt x="3456813" y="953"/>
                  </a:lnTo>
                  <a:close/>
                  <a:moveTo>
                    <a:pt x="3436906" y="98393"/>
                  </a:moveTo>
                  <a:lnTo>
                    <a:pt x="3377946" y="98393"/>
                  </a:lnTo>
                  <a:lnTo>
                    <a:pt x="3329940" y="338423"/>
                  </a:lnTo>
                  <a:lnTo>
                    <a:pt x="3388900" y="338423"/>
                  </a:lnTo>
                  <a:lnTo>
                    <a:pt x="3436906" y="98393"/>
                  </a:lnTo>
                  <a:close/>
                  <a:moveTo>
                    <a:pt x="3328035" y="98393"/>
                  </a:moveTo>
                  <a:lnTo>
                    <a:pt x="3287173" y="98393"/>
                  </a:lnTo>
                  <a:lnTo>
                    <a:pt x="3301937" y="24289"/>
                  </a:lnTo>
                  <a:lnTo>
                    <a:pt x="3242977" y="24289"/>
                  </a:lnTo>
                  <a:lnTo>
                    <a:pt x="3228213" y="98393"/>
                  </a:lnTo>
                  <a:lnTo>
                    <a:pt x="3203067" y="98393"/>
                  </a:lnTo>
                  <a:lnTo>
                    <a:pt x="3194019" y="142970"/>
                  </a:lnTo>
                  <a:lnTo>
                    <a:pt x="3219164" y="142970"/>
                  </a:lnTo>
                  <a:lnTo>
                    <a:pt x="3194971" y="264223"/>
                  </a:lnTo>
                  <a:cubicBezTo>
                    <a:pt x="3194019" y="269462"/>
                    <a:pt x="3193066" y="276130"/>
                    <a:pt x="3193066" y="284702"/>
                  </a:cubicBezTo>
                  <a:cubicBezTo>
                    <a:pt x="3193066" y="318421"/>
                    <a:pt x="3218688" y="338328"/>
                    <a:pt x="3252883" y="338328"/>
                  </a:cubicBezTo>
                  <a:lnTo>
                    <a:pt x="3283268" y="338328"/>
                  </a:lnTo>
                  <a:lnTo>
                    <a:pt x="3293269" y="288988"/>
                  </a:lnTo>
                  <a:lnTo>
                    <a:pt x="3271933" y="288988"/>
                  </a:lnTo>
                  <a:cubicBezTo>
                    <a:pt x="3259074" y="288988"/>
                    <a:pt x="3252883" y="283750"/>
                    <a:pt x="3252883" y="273748"/>
                  </a:cubicBezTo>
                  <a:cubicBezTo>
                    <a:pt x="3252883" y="271367"/>
                    <a:pt x="3252883" y="269462"/>
                    <a:pt x="3253836" y="264700"/>
                  </a:cubicBezTo>
                  <a:lnTo>
                    <a:pt x="3278029" y="142970"/>
                  </a:lnTo>
                  <a:lnTo>
                    <a:pt x="3318891" y="142970"/>
                  </a:lnTo>
                  <a:lnTo>
                    <a:pt x="3328035" y="98393"/>
                  </a:lnTo>
                  <a:close/>
                  <a:moveTo>
                    <a:pt x="3163062" y="118300"/>
                  </a:moveTo>
                  <a:cubicBezTo>
                    <a:pt x="3141726" y="96488"/>
                    <a:pt x="3116009" y="87916"/>
                    <a:pt x="3080861" y="87916"/>
                  </a:cubicBezTo>
                  <a:cubicBezTo>
                    <a:pt x="3045619" y="87916"/>
                    <a:pt x="3017139" y="97917"/>
                    <a:pt x="2998565" y="116396"/>
                  </a:cubicBezTo>
                  <a:cubicBezTo>
                    <a:pt x="2981992" y="132969"/>
                    <a:pt x="2973420" y="155353"/>
                    <a:pt x="2973420" y="178213"/>
                  </a:cubicBezTo>
                  <a:cubicBezTo>
                    <a:pt x="2973420" y="201549"/>
                    <a:pt x="2987707" y="226695"/>
                    <a:pt x="3032760" y="234315"/>
                  </a:cubicBezTo>
                  <a:lnTo>
                    <a:pt x="3065145" y="239554"/>
                  </a:lnTo>
                  <a:cubicBezTo>
                    <a:pt x="3079433" y="241935"/>
                    <a:pt x="3088481" y="246697"/>
                    <a:pt x="3088481" y="260032"/>
                  </a:cubicBezTo>
                  <a:cubicBezTo>
                    <a:pt x="3088481" y="274796"/>
                    <a:pt x="3071813" y="290894"/>
                    <a:pt x="3037999" y="290894"/>
                  </a:cubicBezTo>
                  <a:cubicBezTo>
                    <a:pt x="3009995" y="290894"/>
                    <a:pt x="2993327" y="281369"/>
                    <a:pt x="2981039" y="267081"/>
                  </a:cubicBezTo>
                  <a:lnTo>
                    <a:pt x="2938748" y="304133"/>
                  </a:lnTo>
                  <a:cubicBezTo>
                    <a:pt x="2960656" y="327850"/>
                    <a:pt x="2990088" y="341186"/>
                    <a:pt x="3034189" y="341186"/>
                  </a:cubicBezTo>
                  <a:cubicBezTo>
                    <a:pt x="3066098" y="341186"/>
                    <a:pt x="3100292" y="333565"/>
                    <a:pt x="3120295" y="314134"/>
                  </a:cubicBezTo>
                  <a:cubicBezTo>
                    <a:pt x="3136392" y="298513"/>
                    <a:pt x="3146870" y="278987"/>
                    <a:pt x="3146870" y="254222"/>
                  </a:cubicBezTo>
                  <a:cubicBezTo>
                    <a:pt x="3146870" y="220028"/>
                    <a:pt x="3131153" y="197167"/>
                    <a:pt x="3087053" y="190024"/>
                  </a:cubicBezTo>
                  <a:lnTo>
                    <a:pt x="3055144" y="184785"/>
                  </a:lnTo>
                  <a:cubicBezTo>
                    <a:pt x="3039904" y="182404"/>
                    <a:pt x="3032284" y="176689"/>
                    <a:pt x="3032284" y="166211"/>
                  </a:cubicBezTo>
                  <a:cubicBezTo>
                    <a:pt x="3032284" y="150971"/>
                    <a:pt x="3045619" y="136303"/>
                    <a:pt x="3075623" y="136303"/>
                  </a:cubicBezTo>
                  <a:cubicBezTo>
                    <a:pt x="3093244" y="136303"/>
                    <a:pt x="3111246" y="142018"/>
                    <a:pt x="3122676" y="153924"/>
                  </a:cubicBezTo>
                  <a:lnTo>
                    <a:pt x="3163062" y="118300"/>
                  </a:lnTo>
                  <a:close/>
                  <a:moveTo>
                    <a:pt x="2858453" y="231934"/>
                  </a:moveTo>
                  <a:lnTo>
                    <a:pt x="2855595" y="246697"/>
                  </a:lnTo>
                  <a:cubicBezTo>
                    <a:pt x="2853214" y="259080"/>
                    <a:pt x="2848451" y="270415"/>
                    <a:pt x="2840831" y="278035"/>
                  </a:cubicBezTo>
                  <a:cubicBezTo>
                    <a:pt x="2831783" y="287083"/>
                    <a:pt x="2818448" y="293275"/>
                    <a:pt x="2802350" y="293275"/>
                  </a:cubicBezTo>
                  <a:cubicBezTo>
                    <a:pt x="2780919" y="293275"/>
                    <a:pt x="2770918" y="283750"/>
                    <a:pt x="2770918" y="269938"/>
                  </a:cubicBezTo>
                  <a:cubicBezTo>
                    <a:pt x="2770918" y="248031"/>
                    <a:pt x="2786634" y="231838"/>
                    <a:pt x="2813209" y="231838"/>
                  </a:cubicBezTo>
                  <a:lnTo>
                    <a:pt x="2858453" y="231838"/>
                  </a:lnTo>
                  <a:close/>
                  <a:moveTo>
                    <a:pt x="2930652" y="156877"/>
                  </a:moveTo>
                  <a:cubicBezTo>
                    <a:pt x="2930652" y="104108"/>
                    <a:pt x="2884075" y="88011"/>
                    <a:pt x="2842736" y="88011"/>
                  </a:cubicBezTo>
                  <a:cubicBezTo>
                    <a:pt x="2796636" y="88011"/>
                    <a:pt x="2770918" y="100870"/>
                    <a:pt x="2751011" y="121253"/>
                  </a:cubicBezTo>
                  <a:lnTo>
                    <a:pt x="2781395" y="160687"/>
                  </a:lnTo>
                  <a:cubicBezTo>
                    <a:pt x="2793778" y="146875"/>
                    <a:pt x="2810447" y="137350"/>
                    <a:pt x="2834640" y="137350"/>
                  </a:cubicBezTo>
                  <a:cubicBezTo>
                    <a:pt x="2859405" y="137350"/>
                    <a:pt x="2871311" y="147352"/>
                    <a:pt x="2871311" y="164021"/>
                  </a:cubicBezTo>
                  <a:cubicBezTo>
                    <a:pt x="2871311" y="168783"/>
                    <a:pt x="2870835" y="172117"/>
                    <a:pt x="2869883" y="176879"/>
                  </a:cubicBezTo>
                  <a:lnTo>
                    <a:pt x="2866549" y="191643"/>
                  </a:lnTo>
                  <a:lnTo>
                    <a:pt x="2807589" y="191643"/>
                  </a:lnTo>
                  <a:cubicBezTo>
                    <a:pt x="2779014" y="191643"/>
                    <a:pt x="2753868" y="199263"/>
                    <a:pt x="2735390" y="217265"/>
                  </a:cubicBezTo>
                  <a:cubicBezTo>
                    <a:pt x="2721102" y="231457"/>
                    <a:pt x="2713101" y="251460"/>
                    <a:pt x="2713101" y="275749"/>
                  </a:cubicBezTo>
                  <a:cubicBezTo>
                    <a:pt x="2713101" y="313277"/>
                    <a:pt x="2740628" y="340805"/>
                    <a:pt x="2783872" y="340805"/>
                  </a:cubicBezTo>
                  <a:cubicBezTo>
                    <a:pt x="2811018" y="340805"/>
                    <a:pt x="2829973" y="330327"/>
                    <a:pt x="2843784" y="316611"/>
                  </a:cubicBezTo>
                  <a:lnTo>
                    <a:pt x="2839498" y="338423"/>
                  </a:lnTo>
                  <a:lnTo>
                    <a:pt x="2896076" y="338423"/>
                  </a:lnTo>
                  <a:lnTo>
                    <a:pt x="2928366" y="178784"/>
                  </a:lnTo>
                  <a:cubicBezTo>
                    <a:pt x="2929700" y="172021"/>
                    <a:pt x="2930652" y="163544"/>
                    <a:pt x="2930652" y="156877"/>
                  </a:cubicBezTo>
                  <a:moveTo>
                    <a:pt x="2697766" y="0"/>
                  </a:moveTo>
                  <a:lnTo>
                    <a:pt x="2638806" y="0"/>
                  </a:lnTo>
                  <a:lnTo>
                    <a:pt x="2586133" y="264223"/>
                  </a:lnTo>
                  <a:cubicBezTo>
                    <a:pt x="2584704" y="270891"/>
                    <a:pt x="2584228" y="277082"/>
                    <a:pt x="2584228" y="284702"/>
                  </a:cubicBezTo>
                  <a:cubicBezTo>
                    <a:pt x="2584228" y="318421"/>
                    <a:pt x="2609374" y="338328"/>
                    <a:pt x="2643569" y="338328"/>
                  </a:cubicBezTo>
                  <a:lnTo>
                    <a:pt x="2675858" y="338328"/>
                  </a:lnTo>
                  <a:lnTo>
                    <a:pt x="2685860" y="288512"/>
                  </a:lnTo>
                  <a:lnTo>
                    <a:pt x="2661666" y="288512"/>
                  </a:lnTo>
                  <a:cubicBezTo>
                    <a:pt x="2648807" y="288512"/>
                    <a:pt x="2643569" y="283273"/>
                    <a:pt x="2643569" y="274225"/>
                  </a:cubicBezTo>
                  <a:cubicBezTo>
                    <a:pt x="2643569" y="270415"/>
                    <a:pt x="2644045" y="268033"/>
                    <a:pt x="2644997" y="263747"/>
                  </a:cubicBezTo>
                  <a:lnTo>
                    <a:pt x="2697766" y="0"/>
                  </a:lnTo>
                  <a:close/>
                  <a:moveTo>
                    <a:pt x="2514791" y="94583"/>
                  </a:moveTo>
                  <a:cubicBezTo>
                    <a:pt x="2514791" y="120301"/>
                    <a:pt x="2496217" y="151638"/>
                    <a:pt x="2455355" y="151638"/>
                  </a:cubicBezTo>
                  <a:lnTo>
                    <a:pt x="2399253" y="151638"/>
                  </a:lnTo>
                  <a:lnTo>
                    <a:pt x="2418779" y="55531"/>
                  </a:lnTo>
                  <a:lnTo>
                    <a:pt x="2476786" y="55531"/>
                  </a:lnTo>
                  <a:cubicBezTo>
                    <a:pt x="2504885" y="55531"/>
                    <a:pt x="2514791" y="73152"/>
                    <a:pt x="2514791" y="94583"/>
                  </a:cubicBezTo>
                  <a:moveTo>
                    <a:pt x="2578037" y="89345"/>
                  </a:moveTo>
                  <a:cubicBezTo>
                    <a:pt x="2578037" y="36576"/>
                    <a:pt x="2544795" y="0"/>
                    <a:pt x="2487359" y="0"/>
                  </a:cubicBezTo>
                  <a:lnTo>
                    <a:pt x="2367058" y="0"/>
                  </a:lnTo>
                  <a:lnTo>
                    <a:pt x="2299049" y="338328"/>
                  </a:lnTo>
                  <a:lnTo>
                    <a:pt x="2361819" y="338328"/>
                  </a:lnTo>
                  <a:lnTo>
                    <a:pt x="2387918" y="207169"/>
                  </a:lnTo>
                  <a:lnTo>
                    <a:pt x="2453069" y="207169"/>
                  </a:lnTo>
                  <a:cubicBezTo>
                    <a:pt x="2534317" y="207169"/>
                    <a:pt x="2578037" y="149733"/>
                    <a:pt x="2578037" y="89345"/>
                  </a:cubicBezTo>
                  <a:moveTo>
                    <a:pt x="2105501" y="173546"/>
                  </a:moveTo>
                  <a:cubicBezTo>
                    <a:pt x="2105501" y="181165"/>
                    <a:pt x="2104073" y="192596"/>
                    <a:pt x="2101215" y="207740"/>
                  </a:cubicBezTo>
                  <a:cubicBezTo>
                    <a:pt x="2092643" y="252413"/>
                    <a:pt x="2079307" y="275272"/>
                    <a:pt x="2048923" y="275272"/>
                  </a:cubicBezTo>
                  <a:cubicBezTo>
                    <a:pt x="2027111" y="275272"/>
                    <a:pt x="2019490" y="260985"/>
                    <a:pt x="2019490" y="242506"/>
                  </a:cubicBezTo>
                  <a:cubicBezTo>
                    <a:pt x="2019490" y="234887"/>
                    <a:pt x="2020919" y="223456"/>
                    <a:pt x="2023777" y="208312"/>
                  </a:cubicBezTo>
                  <a:cubicBezTo>
                    <a:pt x="2032349" y="163639"/>
                    <a:pt x="2045589" y="140779"/>
                    <a:pt x="2076069" y="140779"/>
                  </a:cubicBezTo>
                  <a:cubicBezTo>
                    <a:pt x="2096072" y="140684"/>
                    <a:pt x="2105501" y="152971"/>
                    <a:pt x="2105501" y="173546"/>
                  </a:cubicBezTo>
                  <a:lnTo>
                    <a:pt x="2105501" y="173546"/>
                  </a:lnTo>
                  <a:close/>
                  <a:moveTo>
                    <a:pt x="2183035" y="90773"/>
                  </a:moveTo>
                  <a:lnTo>
                    <a:pt x="2125980" y="90773"/>
                  </a:lnTo>
                  <a:lnTo>
                    <a:pt x="2121218" y="115919"/>
                  </a:lnTo>
                  <a:cubicBezTo>
                    <a:pt x="2109788" y="97346"/>
                    <a:pt x="2090833" y="87821"/>
                    <a:pt x="2065115" y="87821"/>
                  </a:cubicBezTo>
                  <a:cubicBezTo>
                    <a:pt x="2042827" y="87821"/>
                    <a:pt x="2020443" y="94012"/>
                    <a:pt x="2001964" y="112490"/>
                  </a:cubicBezTo>
                  <a:cubicBezTo>
                    <a:pt x="1983010" y="131445"/>
                    <a:pt x="1973485" y="160020"/>
                    <a:pt x="1964912" y="207550"/>
                  </a:cubicBezTo>
                  <a:cubicBezTo>
                    <a:pt x="1961102" y="228505"/>
                    <a:pt x="1958721" y="246031"/>
                    <a:pt x="1958721" y="257937"/>
                  </a:cubicBezTo>
                  <a:cubicBezTo>
                    <a:pt x="1958721" y="304514"/>
                    <a:pt x="1990535" y="327755"/>
                    <a:pt x="2027111" y="327755"/>
                  </a:cubicBezTo>
                  <a:cubicBezTo>
                    <a:pt x="2051876" y="327755"/>
                    <a:pt x="2069402" y="318230"/>
                    <a:pt x="2082260" y="303086"/>
                  </a:cubicBezTo>
                  <a:lnTo>
                    <a:pt x="2077022" y="328231"/>
                  </a:lnTo>
                  <a:cubicBezTo>
                    <a:pt x="2070354" y="360140"/>
                    <a:pt x="2049494" y="381953"/>
                    <a:pt x="2016633" y="381953"/>
                  </a:cubicBezTo>
                  <a:cubicBezTo>
                    <a:pt x="1993392" y="381953"/>
                    <a:pt x="1982914" y="370999"/>
                    <a:pt x="1975295" y="362426"/>
                  </a:cubicBezTo>
                  <a:lnTo>
                    <a:pt x="1934432" y="398050"/>
                  </a:lnTo>
                  <a:cubicBezTo>
                    <a:pt x="1955387" y="421767"/>
                    <a:pt x="1980533" y="431768"/>
                    <a:pt x="2016633" y="431768"/>
                  </a:cubicBezTo>
                  <a:cubicBezTo>
                    <a:pt x="2073688" y="431768"/>
                    <a:pt x="2121218" y="400907"/>
                    <a:pt x="2135505" y="328613"/>
                  </a:cubicBezTo>
                  <a:lnTo>
                    <a:pt x="2183035" y="90773"/>
                  </a:lnTo>
                  <a:close/>
                  <a:moveTo>
                    <a:pt x="1924431" y="156305"/>
                  </a:moveTo>
                  <a:cubicBezTo>
                    <a:pt x="1924431" y="107347"/>
                    <a:pt x="1890236" y="87916"/>
                    <a:pt x="1861280" y="87916"/>
                  </a:cubicBezTo>
                  <a:cubicBezTo>
                    <a:pt x="1835563" y="87916"/>
                    <a:pt x="1811846" y="97441"/>
                    <a:pt x="1796129" y="114490"/>
                  </a:cubicBezTo>
                  <a:lnTo>
                    <a:pt x="1800415" y="90773"/>
                  </a:lnTo>
                  <a:lnTo>
                    <a:pt x="1743837" y="90773"/>
                  </a:lnTo>
                  <a:lnTo>
                    <a:pt x="1694402" y="338328"/>
                  </a:lnTo>
                  <a:lnTo>
                    <a:pt x="1753362" y="338328"/>
                  </a:lnTo>
                  <a:lnTo>
                    <a:pt x="1783747" y="188119"/>
                  </a:lnTo>
                  <a:cubicBezTo>
                    <a:pt x="1791367" y="149066"/>
                    <a:pt x="1816989" y="140589"/>
                    <a:pt x="1834134" y="140589"/>
                  </a:cubicBezTo>
                  <a:cubicBezTo>
                    <a:pt x="1849374" y="140589"/>
                    <a:pt x="1863566" y="150114"/>
                    <a:pt x="1863566" y="171450"/>
                  </a:cubicBezTo>
                  <a:cubicBezTo>
                    <a:pt x="1863566" y="176213"/>
                    <a:pt x="1862614" y="181928"/>
                    <a:pt x="1861661" y="187642"/>
                  </a:cubicBezTo>
                  <a:lnTo>
                    <a:pt x="1831277" y="338328"/>
                  </a:lnTo>
                  <a:lnTo>
                    <a:pt x="1890141" y="338328"/>
                  </a:lnTo>
                  <a:lnTo>
                    <a:pt x="1921002" y="183832"/>
                  </a:lnTo>
                  <a:cubicBezTo>
                    <a:pt x="1923002" y="175831"/>
                    <a:pt x="1924431" y="165354"/>
                    <a:pt x="1924431" y="156305"/>
                  </a:cubicBezTo>
                  <a:moveTo>
                    <a:pt x="1702022" y="953"/>
                  </a:moveTo>
                  <a:lnTo>
                    <a:pt x="1641157" y="953"/>
                  </a:lnTo>
                  <a:lnTo>
                    <a:pt x="1631632" y="49816"/>
                  </a:lnTo>
                  <a:lnTo>
                    <a:pt x="1692021" y="49816"/>
                  </a:lnTo>
                  <a:lnTo>
                    <a:pt x="1702022" y="953"/>
                  </a:lnTo>
                  <a:close/>
                  <a:moveTo>
                    <a:pt x="1682115" y="98393"/>
                  </a:moveTo>
                  <a:lnTo>
                    <a:pt x="1623155" y="98393"/>
                  </a:lnTo>
                  <a:lnTo>
                    <a:pt x="1575149" y="338423"/>
                  </a:lnTo>
                  <a:lnTo>
                    <a:pt x="1634109" y="338423"/>
                  </a:lnTo>
                  <a:lnTo>
                    <a:pt x="1682115" y="98393"/>
                  </a:lnTo>
                  <a:close/>
                  <a:moveTo>
                    <a:pt x="1592199" y="111252"/>
                  </a:moveTo>
                  <a:cubicBezTo>
                    <a:pt x="1578864" y="95536"/>
                    <a:pt x="1563243" y="88011"/>
                    <a:pt x="1539431" y="88011"/>
                  </a:cubicBezTo>
                  <a:cubicBezTo>
                    <a:pt x="1513713" y="88011"/>
                    <a:pt x="1490472" y="98488"/>
                    <a:pt x="1476661" y="115062"/>
                  </a:cubicBezTo>
                  <a:lnTo>
                    <a:pt x="1481900" y="90869"/>
                  </a:lnTo>
                  <a:lnTo>
                    <a:pt x="1424845" y="90869"/>
                  </a:lnTo>
                  <a:lnTo>
                    <a:pt x="1375410" y="338423"/>
                  </a:lnTo>
                  <a:lnTo>
                    <a:pt x="1434370" y="338423"/>
                  </a:lnTo>
                  <a:lnTo>
                    <a:pt x="1464278" y="188690"/>
                  </a:lnTo>
                  <a:cubicBezTo>
                    <a:pt x="1469993" y="160115"/>
                    <a:pt x="1490853" y="141161"/>
                    <a:pt x="1514189" y="141161"/>
                  </a:cubicBezTo>
                  <a:cubicBezTo>
                    <a:pt x="1527048" y="141161"/>
                    <a:pt x="1535144" y="148304"/>
                    <a:pt x="1541240" y="156400"/>
                  </a:cubicBezTo>
                  <a:lnTo>
                    <a:pt x="1592199" y="111252"/>
                  </a:lnTo>
                  <a:close/>
                  <a:moveTo>
                    <a:pt x="1298067" y="176308"/>
                  </a:moveTo>
                  <a:cubicBezTo>
                    <a:pt x="1298067" y="181546"/>
                    <a:pt x="1297591" y="187738"/>
                    <a:pt x="1296638" y="192977"/>
                  </a:cubicBezTo>
                  <a:lnTo>
                    <a:pt x="1205770" y="192977"/>
                  </a:lnTo>
                  <a:cubicBezTo>
                    <a:pt x="1216724" y="152495"/>
                    <a:pt x="1237679" y="136303"/>
                    <a:pt x="1262825" y="136303"/>
                  </a:cubicBezTo>
                  <a:cubicBezTo>
                    <a:pt x="1283780" y="136398"/>
                    <a:pt x="1298067" y="150209"/>
                    <a:pt x="1298067" y="176308"/>
                  </a:cubicBezTo>
                  <a:moveTo>
                    <a:pt x="1354074" y="176308"/>
                  </a:moveTo>
                  <a:cubicBezTo>
                    <a:pt x="1354074" y="122587"/>
                    <a:pt x="1318451" y="87916"/>
                    <a:pt x="1266158" y="87916"/>
                  </a:cubicBezTo>
                  <a:cubicBezTo>
                    <a:pt x="1180529" y="87916"/>
                    <a:pt x="1140238" y="171069"/>
                    <a:pt x="1140238" y="254222"/>
                  </a:cubicBezTo>
                  <a:cubicBezTo>
                    <a:pt x="1140238" y="319373"/>
                    <a:pt x="1189101" y="341186"/>
                    <a:pt x="1231964" y="341186"/>
                  </a:cubicBezTo>
                  <a:cubicBezTo>
                    <a:pt x="1269111" y="341186"/>
                    <a:pt x="1302830" y="328803"/>
                    <a:pt x="1328452" y="305086"/>
                  </a:cubicBezTo>
                  <a:lnTo>
                    <a:pt x="1297591" y="266129"/>
                  </a:lnTo>
                  <a:cubicBezTo>
                    <a:pt x="1280446" y="282797"/>
                    <a:pt x="1262348" y="291370"/>
                    <a:pt x="1238631" y="291370"/>
                  </a:cubicBezTo>
                  <a:cubicBezTo>
                    <a:pt x="1210056" y="291370"/>
                    <a:pt x="1196340" y="274225"/>
                    <a:pt x="1196340" y="249936"/>
                  </a:cubicBezTo>
                  <a:cubicBezTo>
                    <a:pt x="1196340" y="244221"/>
                    <a:pt x="1197293" y="238030"/>
                    <a:pt x="1198245" y="232315"/>
                  </a:cubicBezTo>
                  <a:lnTo>
                    <a:pt x="1346549" y="232315"/>
                  </a:lnTo>
                  <a:cubicBezTo>
                    <a:pt x="1350740" y="213360"/>
                    <a:pt x="1354074" y="192977"/>
                    <a:pt x="1354074" y="176308"/>
                  </a:cubicBezTo>
                  <a:moveTo>
                    <a:pt x="1054227" y="176308"/>
                  </a:moveTo>
                  <a:cubicBezTo>
                    <a:pt x="1054227" y="181546"/>
                    <a:pt x="1053751" y="187738"/>
                    <a:pt x="1052798" y="192977"/>
                  </a:cubicBezTo>
                  <a:lnTo>
                    <a:pt x="961930" y="192977"/>
                  </a:lnTo>
                  <a:cubicBezTo>
                    <a:pt x="972884" y="152495"/>
                    <a:pt x="993838" y="136303"/>
                    <a:pt x="1018984" y="136303"/>
                  </a:cubicBezTo>
                  <a:cubicBezTo>
                    <a:pt x="1039940" y="136398"/>
                    <a:pt x="1054227" y="150209"/>
                    <a:pt x="1054227" y="176308"/>
                  </a:cubicBezTo>
                  <a:moveTo>
                    <a:pt x="1110234" y="176308"/>
                  </a:moveTo>
                  <a:cubicBezTo>
                    <a:pt x="1110234" y="122587"/>
                    <a:pt x="1074611" y="87916"/>
                    <a:pt x="1022318" y="87916"/>
                  </a:cubicBezTo>
                  <a:cubicBezTo>
                    <a:pt x="936688" y="87916"/>
                    <a:pt x="896398" y="171069"/>
                    <a:pt x="896398" y="254222"/>
                  </a:cubicBezTo>
                  <a:cubicBezTo>
                    <a:pt x="896398" y="319373"/>
                    <a:pt x="945261" y="341186"/>
                    <a:pt x="988124" y="341186"/>
                  </a:cubicBezTo>
                  <a:cubicBezTo>
                    <a:pt x="1025176" y="341186"/>
                    <a:pt x="1058990" y="328803"/>
                    <a:pt x="1084612" y="305086"/>
                  </a:cubicBezTo>
                  <a:lnTo>
                    <a:pt x="1053751" y="266129"/>
                  </a:lnTo>
                  <a:cubicBezTo>
                    <a:pt x="1036606" y="282797"/>
                    <a:pt x="1018604" y="291370"/>
                    <a:pt x="994791" y="291370"/>
                  </a:cubicBezTo>
                  <a:cubicBezTo>
                    <a:pt x="966216" y="291370"/>
                    <a:pt x="952500" y="274225"/>
                    <a:pt x="952500" y="249936"/>
                  </a:cubicBezTo>
                  <a:cubicBezTo>
                    <a:pt x="952500" y="244221"/>
                    <a:pt x="953453" y="238030"/>
                    <a:pt x="954405" y="232315"/>
                  </a:cubicBezTo>
                  <a:lnTo>
                    <a:pt x="1102709" y="232315"/>
                  </a:lnTo>
                  <a:cubicBezTo>
                    <a:pt x="1106900" y="213360"/>
                    <a:pt x="1110234" y="192977"/>
                    <a:pt x="1110234" y="176308"/>
                  </a:cubicBezTo>
                  <a:moveTo>
                    <a:pt x="863537" y="156305"/>
                  </a:moveTo>
                  <a:cubicBezTo>
                    <a:pt x="863537" y="107347"/>
                    <a:pt x="829342" y="87916"/>
                    <a:pt x="800386" y="87916"/>
                  </a:cubicBezTo>
                  <a:cubicBezTo>
                    <a:pt x="774763" y="87916"/>
                    <a:pt x="750951" y="97441"/>
                    <a:pt x="735235" y="114490"/>
                  </a:cubicBezTo>
                  <a:lnTo>
                    <a:pt x="739521" y="90773"/>
                  </a:lnTo>
                  <a:lnTo>
                    <a:pt x="682943" y="90773"/>
                  </a:lnTo>
                  <a:lnTo>
                    <a:pt x="633508" y="338328"/>
                  </a:lnTo>
                  <a:lnTo>
                    <a:pt x="692468" y="338328"/>
                  </a:lnTo>
                  <a:lnTo>
                    <a:pt x="722852" y="188119"/>
                  </a:lnTo>
                  <a:cubicBezTo>
                    <a:pt x="730472" y="149066"/>
                    <a:pt x="756095" y="140589"/>
                    <a:pt x="773240" y="140589"/>
                  </a:cubicBezTo>
                  <a:cubicBezTo>
                    <a:pt x="788480" y="140589"/>
                    <a:pt x="802672" y="150114"/>
                    <a:pt x="802672" y="171450"/>
                  </a:cubicBezTo>
                  <a:cubicBezTo>
                    <a:pt x="802672" y="176213"/>
                    <a:pt x="801719" y="181928"/>
                    <a:pt x="800767" y="187642"/>
                  </a:cubicBezTo>
                  <a:lnTo>
                    <a:pt x="770382" y="338328"/>
                  </a:lnTo>
                  <a:lnTo>
                    <a:pt x="829247" y="338328"/>
                  </a:lnTo>
                  <a:lnTo>
                    <a:pt x="860108" y="183832"/>
                  </a:lnTo>
                  <a:cubicBezTo>
                    <a:pt x="862108" y="175831"/>
                    <a:pt x="863537" y="165354"/>
                    <a:pt x="863537" y="156305"/>
                  </a:cubicBezTo>
                  <a:moveTo>
                    <a:pt x="553688" y="176308"/>
                  </a:moveTo>
                  <a:cubicBezTo>
                    <a:pt x="553688" y="181546"/>
                    <a:pt x="552736" y="193453"/>
                    <a:pt x="548450" y="214313"/>
                  </a:cubicBezTo>
                  <a:cubicBezTo>
                    <a:pt x="542734" y="245269"/>
                    <a:pt x="535115" y="264700"/>
                    <a:pt x="523208" y="276130"/>
                  </a:cubicBezTo>
                  <a:cubicBezTo>
                    <a:pt x="515588" y="283750"/>
                    <a:pt x="505111" y="288512"/>
                    <a:pt x="492824" y="288512"/>
                  </a:cubicBezTo>
                  <a:cubicBezTo>
                    <a:pt x="474250" y="288512"/>
                    <a:pt x="461391" y="276606"/>
                    <a:pt x="461391" y="252889"/>
                  </a:cubicBezTo>
                  <a:cubicBezTo>
                    <a:pt x="461391" y="247174"/>
                    <a:pt x="462344" y="235744"/>
                    <a:pt x="466630" y="214408"/>
                  </a:cubicBezTo>
                  <a:cubicBezTo>
                    <a:pt x="472821" y="184023"/>
                    <a:pt x="479965" y="164497"/>
                    <a:pt x="491871" y="153067"/>
                  </a:cubicBezTo>
                  <a:cubicBezTo>
                    <a:pt x="499491" y="145447"/>
                    <a:pt x="510445" y="140684"/>
                    <a:pt x="522351" y="140684"/>
                  </a:cubicBezTo>
                  <a:cubicBezTo>
                    <a:pt x="540925" y="140684"/>
                    <a:pt x="553688" y="152019"/>
                    <a:pt x="553688" y="176308"/>
                  </a:cubicBezTo>
                  <a:moveTo>
                    <a:pt x="612172" y="169640"/>
                  </a:moveTo>
                  <a:cubicBezTo>
                    <a:pt x="612172" y="112586"/>
                    <a:pt x="569881" y="87916"/>
                    <a:pt x="528542" y="87916"/>
                  </a:cubicBezTo>
                  <a:cubicBezTo>
                    <a:pt x="497110" y="87916"/>
                    <a:pt x="471011" y="98393"/>
                    <a:pt x="452438" y="116396"/>
                  </a:cubicBezTo>
                  <a:cubicBezTo>
                    <a:pt x="430625" y="137255"/>
                    <a:pt x="418719" y="162496"/>
                    <a:pt x="408242" y="214313"/>
                  </a:cubicBezTo>
                  <a:cubicBezTo>
                    <a:pt x="405860" y="225742"/>
                    <a:pt x="403003" y="244316"/>
                    <a:pt x="403003" y="259461"/>
                  </a:cubicBezTo>
                  <a:cubicBezTo>
                    <a:pt x="403003" y="316516"/>
                    <a:pt x="445294" y="341186"/>
                    <a:pt x="487109" y="341186"/>
                  </a:cubicBezTo>
                  <a:cubicBezTo>
                    <a:pt x="518541" y="341186"/>
                    <a:pt x="544163" y="330708"/>
                    <a:pt x="563213" y="312706"/>
                  </a:cubicBezTo>
                  <a:cubicBezTo>
                    <a:pt x="584549" y="291846"/>
                    <a:pt x="596932" y="266605"/>
                    <a:pt x="607409" y="214313"/>
                  </a:cubicBezTo>
                  <a:cubicBezTo>
                    <a:pt x="609314" y="203454"/>
                    <a:pt x="612172" y="184880"/>
                    <a:pt x="612172" y="169640"/>
                  </a:cubicBezTo>
                  <a:moveTo>
                    <a:pt x="401098" y="953"/>
                  </a:moveTo>
                  <a:lnTo>
                    <a:pt x="340233" y="953"/>
                  </a:lnTo>
                  <a:lnTo>
                    <a:pt x="330708" y="49816"/>
                  </a:lnTo>
                  <a:lnTo>
                    <a:pt x="391096" y="49816"/>
                  </a:lnTo>
                  <a:lnTo>
                    <a:pt x="401098" y="953"/>
                  </a:lnTo>
                  <a:close/>
                  <a:moveTo>
                    <a:pt x="381191" y="98393"/>
                  </a:moveTo>
                  <a:lnTo>
                    <a:pt x="322231" y="98393"/>
                  </a:lnTo>
                  <a:lnTo>
                    <a:pt x="274225" y="338423"/>
                  </a:lnTo>
                  <a:lnTo>
                    <a:pt x="333184" y="338423"/>
                  </a:lnTo>
                  <a:lnTo>
                    <a:pt x="381191" y="98393"/>
                  </a:lnTo>
                  <a:close/>
                  <a:moveTo>
                    <a:pt x="215741" y="94583"/>
                  </a:moveTo>
                  <a:cubicBezTo>
                    <a:pt x="215741" y="120301"/>
                    <a:pt x="197167" y="151638"/>
                    <a:pt x="156305" y="151638"/>
                  </a:cubicBezTo>
                  <a:lnTo>
                    <a:pt x="100203" y="151638"/>
                  </a:lnTo>
                  <a:lnTo>
                    <a:pt x="119729" y="55531"/>
                  </a:lnTo>
                  <a:lnTo>
                    <a:pt x="177737" y="55531"/>
                  </a:lnTo>
                  <a:cubicBezTo>
                    <a:pt x="205835" y="55531"/>
                    <a:pt x="215741" y="73152"/>
                    <a:pt x="215741" y="94583"/>
                  </a:cubicBezTo>
                  <a:moveTo>
                    <a:pt x="278987" y="89345"/>
                  </a:moveTo>
                  <a:cubicBezTo>
                    <a:pt x="278987" y="36576"/>
                    <a:pt x="245745" y="0"/>
                    <a:pt x="188214" y="0"/>
                  </a:cubicBezTo>
                  <a:lnTo>
                    <a:pt x="68008" y="0"/>
                  </a:lnTo>
                  <a:lnTo>
                    <a:pt x="0" y="338328"/>
                  </a:lnTo>
                  <a:lnTo>
                    <a:pt x="62770" y="338328"/>
                  </a:lnTo>
                  <a:lnTo>
                    <a:pt x="88868" y="207169"/>
                  </a:lnTo>
                  <a:lnTo>
                    <a:pt x="154019" y="207169"/>
                  </a:lnTo>
                  <a:cubicBezTo>
                    <a:pt x="235267" y="207169"/>
                    <a:pt x="278987" y="149733"/>
                    <a:pt x="278987" y="89345"/>
                  </a:cubicBezTo>
                </a:path>
              </a:pathLst>
            </a:custGeom>
            <a:solidFill>
              <a:srgbClr val="FF83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5B7E3E62-92AE-4F60-AC35-F94D5099DBCD}"/>
                </a:ext>
              </a:extLst>
            </p:cNvPr>
            <p:cNvGrpSpPr/>
            <p:nvPr/>
          </p:nvGrpSpPr>
          <p:grpSpPr>
            <a:xfrm>
              <a:off x="9237264" y="1690722"/>
              <a:ext cx="2576929" cy="342865"/>
              <a:chOff x="7825183" y="3513172"/>
              <a:chExt cx="2540191" cy="337977"/>
            </a:xfrm>
            <a:solidFill>
              <a:schemeClr val="bg1"/>
            </a:solidFill>
          </p:grpSpPr>
          <p:sp>
            <p:nvSpPr>
              <p:cNvPr id="36" name="Freihandform: Form 35">
                <a:extLst>
                  <a:ext uri="{FF2B5EF4-FFF2-40B4-BE49-F238E27FC236}">
                    <a16:creationId xmlns:a16="http://schemas.microsoft.com/office/drawing/2014/main" id="{C00E10BA-048D-4A1C-9D1F-62782012F2FE}"/>
                  </a:ext>
                </a:extLst>
              </p:cNvPr>
              <p:cNvSpPr/>
              <p:nvPr/>
            </p:nvSpPr>
            <p:spPr>
              <a:xfrm>
                <a:off x="8092635" y="3606967"/>
                <a:ext cx="158000" cy="229819"/>
              </a:xfrm>
              <a:custGeom>
                <a:avLst/>
                <a:gdLst>
                  <a:gd name="connsiteX0" fmla="*/ 105061 w 104775"/>
                  <a:gd name="connsiteY0" fmla="*/ 0 h 152400"/>
                  <a:gd name="connsiteX1" fmla="*/ 110204 w 104775"/>
                  <a:gd name="connsiteY1" fmla="*/ 381 h 152400"/>
                  <a:gd name="connsiteX2" fmla="*/ 102680 w 104775"/>
                  <a:gd name="connsiteY2" fmla="*/ 37719 h 152400"/>
                  <a:gd name="connsiteX3" fmla="*/ 88868 w 104775"/>
                  <a:gd name="connsiteY3" fmla="*/ 34957 h 152400"/>
                  <a:gd name="connsiteX4" fmla="*/ 56769 w 104775"/>
                  <a:gd name="connsiteY4" fmla="*/ 64770 h 152400"/>
                  <a:gd name="connsiteX5" fmla="*/ 37910 w 104775"/>
                  <a:gd name="connsiteY5" fmla="*/ 159448 h 152400"/>
                  <a:gd name="connsiteX6" fmla="*/ 0 w 104775"/>
                  <a:gd name="connsiteY6" fmla="*/ 159448 h 152400"/>
                  <a:gd name="connsiteX7" fmla="*/ 31147 w 104775"/>
                  <a:gd name="connsiteY7" fmla="*/ 3429 h 152400"/>
                  <a:gd name="connsiteX8" fmla="*/ 67818 w 104775"/>
                  <a:gd name="connsiteY8" fmla="*/ 3429 h 152400"/>
                  <a:gd name="connsiteX9" fmla="*/ 64770 w 104775"/>
                  <a:gd name="connsiteY9" fmla="*/ 17526 h 152400"/>
                  <a:gd name="connsiteX10" fmla="*/ 105061 w 104775"/>
                  <a:gd name="connsiteY10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4775" h="152400">
                    <a:moveTo>
                      <a:pt x="105061" y="0"/>
                    </a:moveTo>
                    <a:cubicBezTo>
                      <a:pt x="106775" y="0"/>
                      <a:pt x="108966" y="190"/>
                      <a:pt x="110204" y="381"/>
                    </a:cubicBezTo>
                    <a:lnTo>
                      <a:pt x="102680" y="37719"/>
                    </a:lnTo>
                    <a:cubicBezTo>
                      <a:pt x="98107" y="35719"/>
                      <a:pt x="92964" y="34957"/>
                      <a:pt x="88868" y="34957"/>
                    </a:cubicBezTo>
                    <a:cubicBezTo>
                      <a:pt x="73914" y="34957"/>
                      <a:pt x="60484" y="46482"/>
                      <a:pt x="56769" y="64770"/>
                    </a:cubicBezTo>
                    <a:lnTo>
                      <a:pt x="37910" y="159448"/>
                    </a:lnTo>
                    <a:lnTo>
                      <a:pt x="0" y="159448"/>
                    </a:lnTo>
                    <a:lnTo>
                      <a:pt x="31147" y="3429"/>
                    </a:lnTo>
                    <a:lnTo>
                      <a:pt x="67818" y="3429"/>
                    </a:lnTo>
                    <a:lnTo>
                      <a:pt x="64770" y="17526"/>
                    </a:lnTo>
                    <a:cubicBezTo>
                      <a:pt x="73629" y="6763"/>
                      <a:pt x="88582" y="0"/>
                      <a:pt x="105061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7" name="Freihandform: Form 36">
                <a:extLst>
                  <a:ext uri="{FF2B5EF4-FFF2-40B4-BE49-F238E27FC236}">
                    <a16:creationId xmlns:a16="http://schemas.microsoft.com/office/drawing/2014/main" id="{6777653B-FB85-4B6D-B664-44A940EE6CDE}"/>
                  </a:ext>
                </a:extLst>
              </p:cNvPr>
              <p:cNvSpPr/>
              <p:nvPr/>
            </p:nvSpPr>
            <p:spPr>
              <a:xfrm>
                <a:off x="8484763" y="3612137"/>
                <a:ext cx="215455" cy="229819"/>
              </a:xfrm>
              <a:custGeom>
                <a:avLst/>
                <a:gdLst>
                  <a:gd name="connsiteX0" fmla="*/ 149066 w 142875"/>
                  <a:gd name="connsiteY0" fmla="*/ 0 h 152400"/>
                  <a:gd name="connsiteX1" fmla="*/ 118206 w 142875"/>
                  <a:gd name="connsiteY1" fmla="*/ 156020 h 152400"/>
                  <a:gd name="connsiteX2" fmla="*/ 81820 w 142875"/>
                  <a:gd name="connsiteY2" fmla="*/ 156020 h 152400"/>
                  <a:gd name="connsiteX3" fmla="*/ 84297 w 142875"/>
                  <a:gd name="connsiteY3" fmla="*/ 142399 h 152400"/>
                  <a:gd name="connsiteX4" fmla="*/ 40672 w 142875"/>
                  <a:gd name="connsiteY4" fmla="*/ 159449 h 152400"/>
                  <a:gd name="connsiteX5" fmla="*/ 0 w 142875"/>
                  <a:gd name="connsiteY5" fmla="*/ 115157 h 152400"/>
                  <a:gd name="connsiteX6" fmla="*/ 1810 w 142875"/>
                  <a:gd name="connsiteY6" fmla="*/ 97727 h 152400"/>
                  <a:gd name="connsiteX7" fmla="*/ 21336 w 142875"/>
                  <a:gd name="connsiteY7" fmla="*/ 0 h 152400"/>
                  <a:gd name="connsiteX8" fmla="*/ 59246 w 142875"/>
                  <a:gd name="connsiteY8" fmla="*/ 0 h 152400"/>
                  <a:gd name="connsiteX9" fmla="*/ 40291 w 142875"/>
                  <a:gd name="connsiteY9" fmla="*/ 95345 h 152400"/>
                  <a:gd name="connsiteX10" fmla="*/ 39053 w 142875"/>
                  <a:gd name="connsiteY10" fmla="*/ 105728 h 152400"/>
                  <a:gd name="connsiteX11" fmla="*/ 58008 w 142875"/>
                  <a:gd name="connsiteY11" fmla="*/ 125635 h 152400"/>
                  <a:gd name="connsiteX12" fmla="*/ 92107 w 142875"/>
                  <a:gd name="connsiteY12" fmla="*/ 95060 h 152400"/>
                  <a:gd name="connsiteX13" fmla="*/ 110966 w 142875"/>
                  <a:gd name="connsiteY13" fmla="*/ 95 h 152400"/>
                  <a:gd name="connsiteX14" fmla="*/ 149066 w 142875"/>
                  <a:gd name="connsiteY14" fmla="*/ 95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2875" h="152400">
                    <a:moveTo>
                      <a:pt x="149066" y="0"/>
                    </a:moveTo>
                    <a:lnTo>
                      <a:pt x="118206" y="156020"/>
                    </a:lnTo>
                    <a:lnTo>
                      <a:pt x="81820" y="156020"/>
                    </a:lnTo>
                    <a:lnTo>
                      <a:pt x="84297" y="142399"/>
                    </a:lnTo>
                    <a:cubicBezTo>
                      <a:pt x="73914" y="153067"/>
                      <a:pt x="57150" y="159449"/>
                      <a:pt x="40672" y="159449"/>
                    </a:cubicBezTo>
                    <a:cubicBezTo>
                      <a:pt x="22003" y="159449"/>
                      <a:pt x="0" y="146971"/>
                      <a:pt x="0" y="115157"/>
                    </a:cubicBezTo>
                    <a:cubicBezTo>
                      <a:pt x="0" y="108776"/>
                      <a:pt x="953" y="102965"/>
                      <a:pt x="1810" y="97727"/>
                    </a:cubicBezTo>
                    <a:lnTo>
                      <a:pt x="21336" y="0"/>
                    </a:lnTo>
                    <a:lnTo>
                      <a:pt x="59246" y="0"/>
                    </a:lnTo>
                    <a:lnTo>
                      <a:pt x="40291" y="95345"/>
                    </a:lnTo>
                    <a:cubicBezTo>
                      <a:pt x="39720" y="98679"/>
                      <a:pt x="39053" y="102679"/>
                      <a:pt x="39053" y="105728"/>
                    </a:cubicBezTo>
                    <a:cubicBezTo>
                      <a:pt x="39053" y="119444"/>
                      <a:pt x="48578" y="125635"/>
                      <a:pt x="58008" y="125635"/>
                    </a:cubicBezTo>
                    <a:cubicBezTo>
                      <a:pt x="68675" y="125635"/>
                      <a:pt x="87249" y="120110"/>
                      <a:pt x="92107" y="95060"/>
                    </a:cubicBezTo>
                    <a:lnTo>
                      <a:pt x="110966" y="95"/>
                    </a:lnTo>
                    <a:lnTo>
                      <a:pt x="149066" y="95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A5ECE38F-776D-4BE6-9019-1BAA3D92DB24}"/>
                  </a:ext>
                </a:extLst>
              </p:cNvPr>
              <p:cNvSpPr/>
              <p:nvPr/>
            </p:nvSpPr>
            <p:spPr>
              <a:xfrm>
                <a:off x="8930181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8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8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586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3" y="130588"/>
                      <a:pt x="56198" y="130588"/>
                    </a:cubicBezTo>
                    <a:cubicBezTo>
                      <a:pt x="77914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39" name="Freihandform: Form 38">
                <a:extLst>
                  <a:ext uri="{FF2B5EF4-FFF2-40B4-BE49-F238E27FC236}">
                    <a16:creationId xmlns:a16="http://schemas.microsoft.com/office/drawing/2014/main" id="{33EDE83B-BDA3-45ED-BC12-6F32F6EE39B9}"/>
                  </a:ext>
                </a:extLst>
              </p:cNvPr>
              <p:cNvSpPr/>
              <p:nvPr/>
            </p:nvSpPr>
            <p:spPr>
              <a:xfrm>
                <a:off x="10307919" y="3513172"/>
                <a:ext cx="57455" cy="57455"/>
              </a:xfrm>
              <a:custGeom>
                <a:avLst/>
                <a:gdLst>
                  <a:gd name="connsiteX0" fmla="*/ 23639 w 38100"/>
                  <a:gd name="connsiteY0" fmla="*/ 0 h 38100"/>
                  <a:gd name="connsiteX1" fmla="*/ 17 w 38100"/>
                  <a:gd name="connsiteY1" fmla="*/ 22670 h 38100"/>
                  <a:gd name="connsiteX2" fmla="*/ 21829 w 38100"/>
                  <a:gd name="connsiteY2" fmla="*/ 45339 h 38100"/>
                  <a:gd name="connsiteX3" fmla="*/ 45355 w 38100"/>
                  <a:gd name="connsiteY3" fmla="*/ 22670 h 38100"/>
                  <a:gd name="connsiteX4" fmla="*/ 23639 w 38100"/>
                  <a:gd name="connsiteY4" fmla="*/ 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100" h="38100">
                    <a:moveTo>
                      <a:pt x="23639" y="0"/>
                    </a:moveTo>
                    <a:cubicBezTo>
                      <a:pt x="11161" y="0"/>
                      <a:pt x="493" y="10192"/>
                      <a:pt x="17" y="22670"/>
                    </a:cubicBezTo>
                    <a:cubicBezTo>
                      <a:pt x="-460" y="35242"/>
                      <a:pt x="9256" y="45339"/>
                      <a:pt x="21829" y="45339"/>
                    </a:cubicBezTo>
                    <a:cubicBezTo>
                      <a:pt x="34307" y="45339"/>
                      <a:pt x="44879" y="35147"/>
                      <a:pt x="45355" y="22670"/>
                    </a:cubicBezTo>
                    <a:cubicBezTo>
                      <a:pt x="45927" y="10096"/>
                      <a:pt x="36212" y="0"/>
                      <a:pt x="23639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0" name="Freihandform: Form 39">
                <a:extLst>
                  <a:ext uri="{FF2B5EF4-FFF2-40B4-BE49-F238E27FC236}">
                    <a16:creationId xmlns:a16="http://schemas.microsoft.com/office/drawing/2014/main" id="{CC40A6CD-5C44-4EAC-8E96-D485F49BAA2B}"/>
                  </a:ext>
                </a:extLst>
              </p:cNvPr>
              <p:cNvSpPr/>
              <p:nvPr/>
            </p:nvSpPr>
            <p:spPr>
              <a:xfrm>
                <a:off x="10030007" y="3606249"/>
                <a:ext cx="201091" cy="244182"/>
              </a:xfrm>
              <a:custGeom>
                <a:avLst/>
                <a:gdLst>
                  <a:gd name="connsiteX0" fmla="*/ 78962 w 133350"/>
                  <a:gd name="connsiteY0" fmla="*/ 31242 h 161925"/>
                  <a:gd name="connsiteX1" fmla="*/ 101441 w 133350"/>
                  <a:gd name="connsiteY1" fmla="*/ 57341 h 161925"/>
                  <a:gd name="connsiteX2" fmla="*/ 100679 w 133350"/>
                  <a:gd name="connsiteY2" fmla="*/ 66961 h 161925"/>
                  <a:gd name="connsiteX3" fmla="*/ 42386 w 133350"/>
                  <a:gd name="connsiteY3" fmla="*/ 66961 h 161925"/>
                  <a:gd name="connsiteX4" fmla="*/ 78962 w 133350"/>
                  <a:gd name="connsiteY4" fmla="*/ 31242 h 161925"/>
                  <a:gd name="connsiteX5" fmla="*/ 132493 w 133350"/>
                  <a:gd name="connsiteY5" fmla="*/ 94583 h 161925"/>
                  <a:gd name="connsiteX6" fmla="*/ 137541 w 133350"/>
                  <a:gd name="connsiteY6" fmla="*/ 57341 h 161925"/>
                  <a:gd name="connsiteX7" fmla="*/ 81153 w 133350"/>
                  <a:gd name="connsiteY7" fmla="*/ 0 h 161925"/>
                  <a:gd name="connsiteX8" fmla="*/ 0 w 133350"/>
                  <a:gd name="connsiteY8" fmla="*/ 107442 h 161925"/>
                  <a:gd name="connsiteX9" fmla="*/ 61913 w 133350"/>
                  <a:gd name="connsiteY9" fmla="*/ 163830 h 161925"/>
                  <a:gd name="connsiteX10" fmla="*/ 116205 w 133350"/>
                  <a:gd name="connsiteY10" fmla="*/ 153734 h 161925"/>
                  <a:gd name="connsiteX11" fmla="*/ 123158 w 133350"/>
                  <a:gd name="connsiteY11" fmla="*/ 118967 h 161925"/>
                  <a:gd name="connsiteX12" fmla="*/ 67723 w 133350"/>
                  <a:gd name="connsiteY12" fmla="*/ 131826 h 161925"/>
                  <a:gd name="connsiteX13" fmla="*/ 36005 w 133350"/>
                  <a:gd name="connsiteY13" fmla="*/ 104775 h 161925"/>
                  <a:gd name="connsiteX14" fmla="*/ 37052 w 133350"/>
                  <a:gd name="connsiteY14" fmla="*/ 94583 h 161925"/>
                  <a:gd name="connsiteX15" fmla="*/ 132493 w 133350"/>
                  <a:gd name="connsiteY15" fmla="*/ 94583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33350" h="161925">
                    <a:moveTo>
                      <a:pt x="78962" y="31242"/>
                    </a:moveTo>
                    <a:cubicBezTo>
                      <a:pt x="92678" y="31242"/>
                      <a:pt x="101441" y="40862"/>
                      <a:pt x="101441" y="57341"/>
                    </a:cubicBezTo>
                    <a:cubicBezTo>
                      <a:pt x="101441" y="60389"/>
                      <a:pt x="101155" y="63818"/>
                      <a:pt x="100679" y="66961"/>
                    </a:cubicBezTo>
                    <a:lnTo>
                      <a:pt x="42386" y="66961"/>
                    </a:lnTo>
                    <a:cubicBezTo>
                      <a:pt x="49530" y="42101"/>
                      <a:pt x="62960" y="31242"/>
                      <a:pt x="78962" y="31242"/>
                    </a:cubicBezTo>
                    <a:moveTo>
                      <a:pt x="132493" y="94583"/>
                    </a:moveTo>
                    <a:cubicBezTo>
                      <a:pt x="135255" y="82010"/>
                      <a:pt x="137541" y="68009"/>
                      <a:pt x="137541" y="57341"/>
                    </a:cubicBezTo>
                    <a:cubicBezTo>
                      <a:pt x="137541" y="22765"/>
                      <a:pt x="115062" y="0"/>
                      <a:pt x="81153" y="0"/>
                    </a:cubicBezTo>
                    <a:cubicBezTo>
                      <a:pt x="26384" y="0"/>
                      <a:pt x="0" y="53912"/>
                      <a:pt x="0" y="107442"/>
                    </a:cubicBezTo>
                    <a:cubicBezTo>
                      <a:pt x="0" y="149352"/>
                      <a:pt x="30861" y="163830"/>
                      <a:pt x="61913" y="163830"/>
                    </a:cubicBezTo>
                    <a:cubicBezTo>
                      <a:pt x="85820" y="163830"/>
                      <a:pt x="103441" y="159163"/>
                      <a:pt x="116205" y="153734"/>
                    </a:cubicBezTo>
                    <a:lnTo>
                      <a:pt x="123158" y="118967"/>
                    </a:lnTo>
                    <a:cubicBezTo>
                      <a:pt x="115919" y="122968"/>
                      <a:pt x="97727" y="131826"/>
                      <a:pt x="67723" y="131826"/>
                    </a:cubicBezTo>
                    <a:cubicBezTo>
                      <a:pt x="44387" y="131826"/>
                      <a:pt x="36100" y="120396"/>
                      <a:pt x="36005" y="104775"/>
                    </a:cubicBezTo>
                    <a:cubicBezTo>
                      <a:pt x="36005" y="101156"/>
                      <a:pt x="36481" y="98298"/>
                      <a:pt x="37052" y="94583"/>
                    </a:cubicBezTo>
                    <a:lnTo>
                      <a:pt x="132493" y="94583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1" name="Freihandform: Form 40">
                <a:extLst>
                  <a:ext uri="{FF2B5EF4-FFF2-40B4-BE49-F238E27FC236}">
                    <a16:creationId xmlns:a16="http://schemas.microsoft.com/office/drawing/2014/main" id="{2BF8FADF-AC25-41BE-AE90-B85E6255A3A9}"/>
                  </a:ext>
                </a:extLst>
              </p:cNvPr>
              <p:cNvSpPr/>
              <p:nvPr/>
            </p:nvSpPr>
            <p:spPr>
              <a:xfrm>
                <a:off x="10253506" y="3614579"/>
                <a:ext cx="100546" cy="229819"/>
              </a:xfrm>
              <a:custGeom>
                <a:avLst/>
                <a:gdLst>
                  <a:gd name="connsiteX0" fmla="*/ 68961 w 66675"/>
                  <a:gd name="connsiteY0" fmla="*/ 0 h 152400"/>
                  <a:gd name="connsiteX1" fmla="*/ 37909 w 66675"/>
                  <a:gd name="connsiteY1" fmla="*/ 154400 h 152400"/>
                  <a:gd name="connsiteX2" fmla="*/ 0 w 66675"/>
                  <a:gd name="connsiteY2" fmla="*/ 154400 h 152400"/>
                  <a:gd name="connsiteX3" fmla="*/ 30956 w 66675"/>
                  <a:gd name="connsiteY3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5" h="152400">
                    <a:moveTo>
                      <a:pt x="68961" y="0"/>
                    </a:moveTo>
                    <a:lnTo>
                      <a:pt x="37909" y="154400"/>
                    </a:lnTo>
                    <a:lnTo>
                      <a:pt x="0" y="154400"/>
                    </a:lnTo>
                    <a:lnTo>
                      <a:pt x="30956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2" name="Freihandform: Form 41">
                <a:extLst>
                  <a:ext uri="{FF2B5EF4-FFF2-40B4-BE49-F238E27FC236}">
                    <a16:creationId xmlns:a16="http://schemas.microsoft.com/office/drawing/2014/main" id="{4F9A419C-EC8D-4D25-909C-A27699B66787}"/>
                  </a:ext>
                </a:extLst>
              </p:cNvPr>
              <p:cNvSpPr/>
              <p:nvPr/>
            </p:nvSpPr>
            <p:spPr>
              <a:xfrm>
                <a:off x="9516362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6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8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7052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7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340 w 133350"/>
                  <a:gd name="connsiteY16" fmla="*/ 162687 h 161925"/>
                  <a:gd name="connsiteX17" fmla="*/ 85820 w 133350"/>
                  <a:gd name="connsiteY17" fmla="*/ 147066 h 161925"/>
                  <a:gd name="connsiteX18" fmla="*/ 83344 w 133350"/>
                  <a:gd name="connsiteY18" fmla="*/ 159544 h 161925"/>
                  <a:gd name="connsiteX19" fmla="*/ 119729 w 133350"/>
                  <a:gd name="connsiteY19" fmla="*/ 159544 h 161925"/>
                  <a:gd name="connsiteX20" fmla="*/ 140018 w 133350"/>
                  <a:gd name="connsiteY20" fmla="*/ 58483 h 161925"/>
                  <a:gd name="connsiteX21" fmla="*/ 141542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964" y="117348"/>
                      <a:pt x="84011" y="122301"/>
                    </a:cubicBezTo>
                    <a:cubicBezTo>
                      <a:pt x="78200" y="128111"/>
                      <a:pt x="69628" y="132112"/>
                      <a:pt x="59246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1" y="88678"/>
                      <a:pt x="65437" y="88678"/>
                    </a:cubicBezTo>
                    <a:lnTo>
                      <a:pt x="96108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7052" y="6001"/>
                    </a:cubicBezTo>
                    <a:lnTo>
                      <a:pt x="30099" y="40291"/>
                    </a:lnTo>
                    <a:cubicBezTo>
                      <a:pt x="39814" y="36195"/>
                      <a:pt x="58103" y="31813"/>
                      <a:pt x="78391" y="31813"/>
                    </a:cubicBezTo>
                    <a:cubicBezTo>
                      <a:pt x="95345" y="31813"/>
                      <a:pt x="103347" y="38195"/>
                      <a:pt x="103347" y="48958"/>
                    </a:cubicBezTo>
                    <a:cubicBezTo>
                      <a:pt x="103347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340" y="162687"/>
                    </a:cubicBezTo>
                    <a:cubicBezTo>
                      <a:pt x="64770" y="162687"/>
                      <a:pt x="76962" y="156020"/>
                      <a:pt x="85820" y="147066"/>
                    </a:cubicBezTo>
                    <a:lnTo>
                      <a:pt x="83344" y="159544"/>
                    </a:lnTo>
                    <a:lnTo>
                      <a:pt x="119729" y="159544"/>
                    </a:lnTo>
                    <a:lnTo>
                      <a:pt x="140018" y="58483"/>
                    </a:lnTo>
                    <a:cubicBezTo>
                      <a:pt x="140875" y="54197"/>
                      <a:pt x="141542" y="48673"/>
                      <a:pt x="141542" y="44387"/>
                    </a:cubicBezTo>
                    <a:cubicBezTo>
                      <a:pt x="141542" y="10478"/>
                      <a:pt x="111729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3" name="Freihandform: Form 42">
                <a:extLst>
                  <a:ext uri="{FF2B5EF4-FFF2-40B4-BE49-F238E27FC236}">
                    <a16:creationId xmlns:a16="http://schemas.microsoft.com/office/drawing/2014/main" id="{B351FB1B-EEDA-4EDF-8084-942A0B684AA0}"/>
                  </a:ext>
                </a:extLst>
              </p:cNvPr>
              <p:cNvSpPr/>
              <p:nvPr/>
            </p:nvSpPr>
            <p:spPr>
              <a:xfrm>
                <a:off x="8719896" y="3606967"/>
                <a:ext cx="186728" cy="244182"/>
              </a:xfrm>
              <a:custGeom>
                <a:avLst/>
                <a:gdLst>
                  <a:gd name="connsiteX0" fmla="*/ 127731 w 123825"/>
                  <a:gd name="connsiteY0" fmla="*/ 9239 h 161925"/>
                  <a:gd name="connsiteX1" fmla="*/ 121349 w 123825"/>
                  <a:gd name="connsiteY1" fmla="*/ 41148 h 161925"/>
                  <a:gd name="connsiteX2" fmla="*/ 79534 w 123825"/>
                  <a:gd name="connsiteY2" fmla="*/ 31242 h 161925"/>
                  <a:gd name="connsiteX3" fmla="*/ 50959 w 123825"/>
                  <a:gd name="connsiteY3" fmla="*/ 50482 h 161925"/>
                  <a:gd name="connsiteX4" fmla="*/ 65627 w 123825"/>
                  <a:gd name="connsiteY4" fmla="*/ 62389 h 161925"/>
                  <a:gd name="connsiteX5" fmla="*/ 86106 w 123825"/>
                  <a:gd name="connsiteY5" fmla="*/ 65722 h 161925"/>
                  <a:gd name="connsiteX6" fmla="*/ 124683 w 123825"/>
                  <a:gd name="connsiteY6" fmla="*/ 106966 h 161925"/>
                  <a:gd name="connsiteX7" fmla="*/ 107538 w 123825"/>
                  <a:gd name="connsiteY7" fmla="*/ 145447 h 161925"/>
                  <a:gd name="connsiteX8" fmla="*/ 53721 w 123825"/>
                  <a:gd name="connsiteY8" fmla="*/ 162878 h 161925"/>
                  <a:gd name="connsiteX9" fmla="*/ 0 w 123825"/>
                  <a:gd name="connsiteY9" fmla="*/ 148114 h 161925"/>
                  <a:gd name="connsiteX10" fmla="*/ 7144 w 123825"/>
                  <a:gd name="connsiteY10" fmla="*/ 112586 h 161925"/>
                  <a:gd name="connsiteX11" fmla="*/ 56198 w 123825"/>
                  <a:gd name="connsiteY11" fmla="*/ 130588 h 161925"/>
                  <a:gd name="connsiteX12" fmla="*/ 87059 w 123825"/>
                  <a:gd name="connsiteY12" fmla="*/ 110680 h 161925"/>
                  <a:gd name="connsiteX13" fmla="*/ 72104 w 123825"/>
                  <a:gd name="connsiteY13" fmla="*/ 97536 h 161925"/>
                  <a:gd name="connsiteX14" fmla="*/ 51340 w 123825"/>
                  <a:gd name="connsiteY14" fmla="*/ 94202 h 161925"/>
                  <a:gd name="connsiteX15" fmla="*/ 13145 w 123825"/>
                  <a:gd name="connsiteY15" fmla="*/ 58103 h 161925"/>
                  <a:gd name="connsiteX16" fmla="*/ 29337 w 123825"/>
                  <a:gd name="connsiteY16" fmla="*/ 18383 h 161925"/>
                  <a:gd name="connsiteX17" fmla="*/ 82201 w 123825"/>
                  <a:gd name="connsiteY17" fmla="*/ 0 h 161925"/>
                  <a:gd name="connsiteX18" fmla="*/ 127731 w 123825"/>
                  <a:gd name="connsiteY18" fmla="*/ 9239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23825" h="161925">
                    <a:moveTo>
                      <a:pt x="127731" y="9239"/>
                    </a:moveTo>
                    <a:lnTo>
                      <a:pt x="121349" y="41148"/>
                    </a:lnTo>
                    <a:cubicBezTo>
                      <a:pt x="116491" y="38576"/>
                      <a:pt x="101632" y="31242"/>
                      <a:pt x="79534" y="31242"/>
                    </a:cubicBezTo>
                    <a:cubicBezTo>
                      <a:pt x="60293" y="31242"/>
                      <a:pt x="50959" y="40672"/>
                      <a:pt x="50959" y="50482"/>
                    </a:cubicBezTo>
                    <a:cubicBezTo>
                      <a:pt x="50959" y="57150"/>
                      <a:pt x="55912" y="60865"/>
                      <a:pt x="65627" y="62389"/>
                    </a:cubicBezTo>
                    <a:lnTo>
                      <a:pt x="86106" y="65722"/>
                    </a:lnTo>
                    <a:cubicBezTo>
                      <a:pt x="114491" y="70295"/>
                      <a:pt x="124587" y="84963"/>
                      <a:pt x="124683" y="106966"/>
                    </a:cubicBezTo>
                    <a:cubicBezTo>
                      <a:pt x="124683" y="122872"/>
                      <a:pt x="117920" y="135350"/>
                      <a:pt x="107538" y="145447"/>
                    </a:cubicBezTo>
                    <a:cubicBezTo>
                      <a:pt x="94679" y="158020"/>
                      <a:pt x="74295" y="162878"/>
                      <a:pt x="53721" y="162878"/>
                    </a:cubicBezTo>
                    <a:cubicBezTo>
                      <a:pt x="33338" y="162878"/>
                      <a:pt x="10478" y="154496"/>
                      <a:pt x="0" y="148114"/>
                    </a:cubicBezTo>
                    <a:lnTo>
                      <a:pt x="7144" y="112586"/>
                    </a:lnTo>
                    <a:cubicBezTo>
                      <a:pt x="15621" y="119729"/>
                      <a:pt x="35624" y="130588"/>
                      <a:pt x="56198" y="130588"/>
                    </a:cubicBezTo>
                    <a:cubicBezTo>
                      <a:pt x="77915" y="130588"/>
                      <a:pt x="87059" y="120205"/>
                      <a:pt x="87059" y="110680"/>
                    </a:cubicBezTo>
                    <a:cubicBezTo>
                      <a:pt x="87059" y="102108"/>
                      <a:pt x="81249" y="99060"/>
                      <a:pt x="72104" y="97536"/>
                    </a:cubicBezTo>
                    <a:lnTo>
                      <a:pt x="51340" y="94202"/>
                    </a:lnTo>
                    <a:cubicBezTo>
                      <a:pt x="22289" y="89345"/>
                      <a:pt x="13145" y="73152"/>
                      <a:pt x="13145" y="58103"/>
                    </a:cubicBezTo>
                    <a:cubicBezTo>
                      <a:pt x="13145" y="43434"/>
                      <a:pt x="18669" y="29051"/>
                      <a:pt x="29337" y="18383"/>
                    </a:cubicBezTo>
                    <a:cubicBezTo>
                      <a:pt x="41243" y="6477"/>
                      <a:pt x="59531" y="0"/>
                      <a:pt x="82201" y="0"/>
                    </a:cubicBezTo>
                    <a:cubicBezTo>
                      <a:pt x="98679" y="0"/>
                      <a:pt x="117253" y="4000"/>
                      <a:pt x="127731" y="9239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4" name="Freihandform: Form 43">
                <a:extLst>
                  <a:ext uri="{FF2B5EF4-FFF2-40B4-BE49-F238E27FC236}">
                    <a16:creationId xmlns:a16="http://schemas.microsoft.com/office/drawing/2014/main" id="{5C1697E7-470A-4B69-B8CB-215E28781350}"/>
                  </a:ext>
                </a:extLst>
              </p:cNvPr>
              <p:cNvSpPr/>
              <p:nvPr/>
            </p:nvSpPr>
            <p:spPr>
              <a:xfrm>
                <a:off x="9756954" y="3521790"/>
                <a:ext cx="287273" cy="316001"/>
              </a:xfrm>
              <a:custGeom>
                <a:avLst/>
                <a:gdLst>
                  <a:gd name="connsiteX0" fmla="*/ 12859 w 190500"/>
                  <a:gd name="connsiteY0" fmla="*/ 63246 h 209550"/>
                  <a:gd name="connsiteX1" fmla="*/ 30766 w 190500"/>
                  <a:gd name="connsiteY1" fmla="*/ 63246 h 209550"/>
                  <a:gd name="connsiteX2" fmla="*/ 34671 w 190500"/>
                  <a:gd name="connsiteY2" fmla="*/ 43720 h 209550"/>
                  <a:gd name="connsiteX3" fmla="*/ 86583 w 190500"/>
                  <a:gd name="connsiteY3" fmla="*/ 0 h 209550"/>
                  <a:gd name="connsiteX4" fmla="*/ 108776 w 190500"/>
                  <a:gd name="connsiteY4" fmla="*/ 0 h 209550"/>
                  <a:gd name="connsiteX5" fmla="*/ 102394 w 190500"/>
                  <a:gd name="connsiteY5" fmla="*/ 32099 h 209550"/>
                  <a:gd name="connsiteX6" fmla="*/ 89249 w 190500"/>
                  <a:gd name="connsiteY6" fmla="*/ 32099 h 209550"/>
                  <a:gd name="connsiteX7" fmla="*/ 71819 w 190500"/>
                  <a:gd name="connsiteY7" fmla="*/ 47720 h 209550"/>
                  <a:gd name="connsiteX8" fmla="*/ 68675 w 190500"/>
                  <a:gd name="connsiteY8" fmla="*/ 63341 h 209550"/>
                  <a:gd name="connsiteX9" fmla="*/ 120396 w 190500"/>
                  <a:gd name="connsiteY9" fmla="*/ 63341 h 209550"/>
                  <a:gd name="connsiteX10" fmla="*/ 124301 w 190500"/>
                  <a:gd name="connsiteY10" fmla="*/ 43815 h 209550"/>
                  <a:gd name="connsiteX11" fmla="*/ 176213 w 190500"/>
                  <a:gd name="connsiteY11" fmla="*/ 95 h 209550"/>
                  <a:gd name="connsiteX12" fmla="*/ 198406 w 190500"/>
                  <a:gd name="connsiteY12" fmla="*/ 95 h 209550"/>
                  <a:gd name="connsiteX13" fmla="*/ 191929 w 190500"/>
                  <a:gd name="connsiteY13" fmla="*/ 32194 h 209550"/>
                  <a:gd name="connsiteX14" fmla="*/ 178880 w 190500"/>
                  <a:gd name="connsiteY14" fmla="*/ 32194 h 209550"/>
                  <a:gd name="connsiteX15" fmla="*/ 161449 w 190500"/>
                  <a:gd name="connsiteY15" fmla="*/ 47815 h 209550"/>
                  <a:gd name="connsiteX16" fmla="*/ 158305 w 190500"/>
                  <a:gd name="connsiteY16" fmla="*/ 63437 h 209550"/>
                  <a:gd name="connsiteX17" fmla="*/ 186404 w 190500"/>
                  <a:gd name="connsiteY17" fmla="*/ 63437 h 209550"/>
                  <a:gd name="connsiteX18" fmla="*/ 180594 w 190500"/>
                  <a:gd name="connsiteY18" fmla="*/ 92488 h 209550"/>
                  <a:gd name="connsiteX19" fmla="*/ 152495 w 190500"/>
                  <a:gd name="connsiteY19" fmla="*/ 92488 h 209550"/>
                  <a:gd name="connsiteX20" fmla="*/ 127635 w 190500"/>
                  <a:gd name="connsiteY20" fmla="*/ 216217 h 209550"/>
                  <a:gd name="connsiteX21" fmla="*/ 89726 w 190500"/>
                  <a:gd name="connsiteY21" fmla="*/ 216217 h 209550"/>
                  <a:gd name="connsiteX22" fmla="*/ 114491 w 190500"/>
                  <a:gd name="connsiteY22" fmla="*/ 92488 h 209550"/>
                  <a:gd name="connsiteX23" fmla="*/ 62770 w 190500"/>
                  <a:gd name="connsiteY23" fmla="*/ 92488 h 209550"/>
                  <a:gd name="connsiteX24" fmla="*/ 37910 w 190500"/>
                  <a:gd name="connsiteY24" fmla="*/ 216217 h 209550"/>
                  <a:gd name="connsiteX25" fmla="*/ 0 w 190500"/>
                  <a:gd name="connsiteY25" fmla="*/ 216217 h 209550"/>
                  <a:gd name="connsiteX26" fmla="*/ 24861 w 190500"/>
                  <a:gd name="connsiteY26" fmla="*/ 92488 h 209550"/>
                  <a:gd name="connsiteX27" fmla="*/ 6954 w 190500"/>
                  <a:gd name="connsiteY27" fmla="*/ 92488 h 209550"/>
                  <a:gd name="connsiteX28" fmla="*/ 12859 w 190500"/>
                  <a:gd name="connsiteY28" fmla="*/ 63246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90500" h="209550">
                    <a:moveTo>
                      <a:pt x="12859" y="63246"/>
                    </a:moveTo>
                    <a:lnTo>
                      <a:pt x="30766" y="63246"/>
                    </a:lnTo>
                    <a:lnTo>
                      <a:pt x="34671" y="43720"/>
                    </a:lnTo>
                    <a:cubicBezTo>
                      <a:pt x="40291" y="15907"/>
                      <a:pt x="57245" y="0"/>
                      <a:pt x="86583" y="0"/>
                    </a:cubicBezTo>
                    <a:lnTo>
                      <a:pt x="108776" y="0"/>
                    </a:lnTo>
                    <a:lnTo>
                      <a:pt x="102394" y="32099"/>
                    </a:lnTo>
                    <a:lnTo>
                      <a:pt x="89249" y="32099"/>
                    </a:lnTo>
                    <a:cubicBezTo>
                      <a:pt x="80106" y="32099"/>
                      <a:pt x="74009" y="36957"/>
                      <a:pt x="71819" y="47720"/>
                    </a:cubicBezTo>
                    <a:lnTo>
                      <a:pt x="68675" y="63341"/>
                    </a:lnTo>
                    <a:lnTo>
                      <a:pt x="120396" y="63341"/>
                    </a:lnTo>
                    <a:lnTo>
                      <a:pt x="124301" y="43815"/>
                    </a:lnTo>
                    <a:cubicBezTo>
                      <a:pt x="129826" y="16002"/>
                      <a:pt x="146876" y="95"/>
                      <a:pt x="176213" y="95"/>
                    </a:cubicBezTo>
                    <a:lnTo>
                      <a:pt x="198406" y="95"/>
                    </a:lnTo>
                    <a:lnTo>
                      <a:pt x="191929" y="32194"/>
                    </a:lnTo>
                    <a:lnTo>
                      <a:pt x="178880" y="32194"/>
                    </a:lnTo>
                    <a:cubicBezTo>
                      <a:pt x="169736" y="32194"/>
                      <a:pt x="163545" y="37052"/>
                      <a:pt x="161449" y="47815"/>
                    </a:cubicBezTo>
                    <a:lnTo>
                      <a:pt x="158305" y="63437"/>
                    </a:lnTo>
                    <a:lnTo>
                      <a:pt x="186404" y="63437"/>
                    </a:lnTo>
                    <a:lnTo>
                      <a:pt x="180594" y="92488"/>
                    </a:lnTo>
                    <a:lnTo>
                      <a:pt x="152495" y="92488"/>
                    </a:lnTo>
                    <a:lnTo>
                      <a:pt x="127635" y="216217"/>
                    </a:lnTo>
                    <a:lnTo>
                      <a:pt x="89726" y="216217"/>
                    </a:lnTo>
                    <a:lnTo>
                      <a:pt x="114491" y="92488"/>
                    </a:lnTo>
                    <a:lnTo>
                      <a:pt x="62770" y="92488"/>
                    </a:lnTo>
                    <a:lnTo>
                      <a:pt x="37910" y="216217"/>
                    </a:lnTo>
                    <a:lnTo>
                      <a:pt x="0" y="216217"/>
                    </a:lnTo>
                    <a:lnTo>
                      <a:pt x="24861" y="92488"/>
                    </a:lnTo>
                    <a:lnTo>
                      <a:pt x="6954" y="92488"/>
                    </a:lnTo>
                    <a:lnTo>
                      <a:pt x="12859" y="6324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5" name="Freihandform: Form 44">
                <a:extLst>
                  <a:ext uri="{FF2B5EF4-FFF2-40B4-BE49-F238E27FC236}">
                    <a16:creationId xmlns:a16="http://schemas.microsoft.com/office/drawing/2014/main" id="{F26AF5B5-5625-49DC-9592-5246404756A3}"/>
                  </a:ext>
                </a:extLst>
              </p:cNvPr>
              <p:cNvSpPr/>
              <p:nvPr/>
            </p:nvSpPr>
            <p:spPr>
              <a:xfrm>
                <a:off x="8239433" y="3606967"/>
                <a:ext cx="201091" cy="244182"/>
              </a:xfrm>
              <a:custGeom>
                <a:avLst/>
                <a:gdLst>
                  <a:gd name="connsiteX0" fmla="*/ 93440 w 133350"/>
                  <a:gd name="connsiteY0" fmla="*/ 102108 h 161925"/>
                  <a:gd name="connsiteX1" fmla="*/ 84011 w 133350"/>
                  <a:gd name="connsiteY1" fmla="*/ 122301 h 161925"/>
                  <a:gd name="connsiteX2" fmla="*/ 59245 w 133350"/>
                  <a:gd name="connsiteY2" fmla="*/ 132112 h 161925"/>
                  <a:gd name="connsiteX3" fmla="*/ 37338 w 133350"/>
                  <a:gd name="connsiteY3" fmla="*/ 114014 h 161925"/>
                  <a:gd name="connsiteX4" fmla="*/ 65437 w 133350"/>
                  <a:gd name="connsiteY4" fmla="*/ 88678 h 161925"/>
                  <a:gd name="connsiteX5" fmla="*/ 96107 w 133350"/>
                  <a:gd name="connsiteY5" fmla="*/ 88678 h 161925"/>
                  <a:gd name="connsiteX6" fmla="*/ 93440 w 133350"/>
                  <a:gd name="connsiteY6" fmla="*/ 102108 h 161925"/>
                  <a:gd name="connsiteX7" fmla="*/ 85154 w 133350"/>
                  <a:gd name="connsiteY7" fmla="*/ 0 h 161925"/>
                  <a:gd name="connsiteX8" fmla="*/ 36957 w 133350"/>
                  <a:gd name="connsiteY8" fmla="*/ 6001 h 161925"/>
                  <a:gd name="connsiteX9" fmla="*/ 30099 w 133350"/>
                  <a:gd name="connsiteY9" fmla="*/ 40291 h 161925"/>
                  <a:gd name="connsiteX10" fmla="*/ 78391 w 133350"/>
                  <a:gd name="connsiteY10" fmla="*/ 31813 h 161925"/>
                  <a:gd name="connsiteX11" fmla="*/ 103346 w 133350"/>
                  <a:gd name="connsiteY11" fmla="*/ 48958 h 161925"/>
                  <a:gd name="connsiteX12" fmla="*/ 102394 w 133350"/>
                  <a:gd name="connsiteY12" fmla="*/ 57245 h 161925"/>
                  <a:gd name="connsiteX13" fmla="*/ 101441 w 133350"/>
                  <a:gd name="connsiteY13" fmla="*/ 62198 h 161925"/>
                  <a:gd name="connsiteX14" fmla="*/ 61817 w 133350"/>
                  <a:gd name="connsiteY14" fmla="*/ 62198 h 161925"/>
                  <a:gd name="connsiteX15" fmla="*/ 0 w 133350"/>
                  <a:gd name="connsiteY15" fmla="*/ 120872 h 161925"/>
                  <a:gd name="connsiteX16" fmla="*/ 47244 w 133350"/>
                  <a:gd name="connsiteY16" fmla="*/ 162687 h 161925"/>
                  <a:gd name="connsiteX17" fmla="*/ 85725 w 133350"/>
                  <a:gd name="connsiteY17" fmla="*/ 147066 h 161925"/>
                  <a:gd name="connsiteX18" fmla="*/ 83248 w 133350"/>
                  <a:gd name="connsiteY18" fmla="*/ 159544 h 161925"/>
                  <a:gd name="connsiteX19" fmla="*/ 119634 w 133350"/>
                  <a:gd name="connsiteY19" fmla="*/ 159544 h 161925"/>
                  <a:gd name="connsiteX20" fmla="*/ 139922 w 133350"/>
                  <a:gd name="connsiteY20" fmla="*/ 58483 h 161925"/>
                  <a:gd name="connsiteX21" fmla="*/ 141446 w 133350"/>
                  <a:gd name="connsiteY21" fmla="*/ 44387 h 161925"/>
                  <a:gd name="connsiteX22" fmla="*/ 85154 w 133350"/>
                  <a:gd name="connsiteY22" fmla="*/ 0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33350" h="161925">
                    <a:moveTo>
                      <a:pt x="93440" y="102108"/>
                    </a:moveTo>
                    <a:cubicBezTo>
                      <a:pt x="91916" y="110014"/>
                      <a:pt x="88868" y="117348"/>
                      <a:pt x="84011" y="122301"/>
                    </a:cubicBezTo>
                    <a:cubicBezTo>
                      <a:pt x="78200" y="128111"/>
                      <a:pt x="69628" y="132112"/>
                      <a:pt x="59245" y="132112"/>
                    </a:cubicBezTo>
                    <a:cubicBezTo>
                      <a:pt x="45244" y="132112"/>
                      <a:pt x="37338" y="122872"/>
                      <a:pt x="37338" y="114014"/>
                    </a:cubicBezTo>
                    <a:cubicBezTo>
                      <a:pt x="37338" y="99822"/>
                      <a:pt x="47910" y="88678"/>
                      <a:pt x="65437" y="88678"/>
                    </a:cubicBezTo>
                    <a:lnTo>
                      <a:pt x="96107" y="88678"/>
                    </a:lnTo>
                    <a:lnTo>
                      <a:pt x="93440" y="102108"/>
                    </a:lnTo>
                    <a:close/>
                    <a:moveTo>
                      <a:pt x="85154" y="0"/>
                    </a:moveTo>
                    <a:cubicBezTo>
                      <a:pt x="60674" y="0"/>
                      <a:pt x="42863" y="4000"/>
                      <a:pt x="36957" y="6001"/>
                    </a:cubicBezTo>
                    <a:lnTo>
                      <a:pt x="30099" y="40291"/>
                    </a:lnTo>
                    <a:cubicBezTo>
                      <a:pt x="39814" y="36195"/>
                      <a:pt x="58102" y="31813"/>
                      <a:pt x="78391" y="31813"/>
                    </a:cubicBezTo>
                    <a:cubicBezTo>
                      <a:pt x="95345" y="31813"/>
                      <a:pt x="103346" y="38195"/>
                      <a:pt x="103346" y="48958"/>
                    </a:cubicBezTo>
                    <a:cubicBezTo>
                      <a:pt x="103346" y="52006"/>
                      <a:pt x="102965" y="54483"/>
                      <a:pt x="102394" y="57245"/>
                    </a:cubicBezTo>
                    <a:lnTo>
                      <a:pt x="101441" y="62198"/>
                    </a:lnTo>
                    <a:lnTo>
                      <a:pt x="61817" y="62198"/>
                    </a:lnTo>
                    <a:cubicBezTo>
                      <a:pt x="28194" y="62198"/>
                      <a:pt x="0" y="84772"/>
                      <a:pt x="0" y="120872"/>
                    </a:cubicBezTo>
                    <a:cubicBezTo>
                      <a:pt x="0" y="144971"/>
                      <a:pt x="19431" y="162687"/>
                      <a:pt x="47244" y="162687"/>
                    </a:cubicBezTo>
                    <a:cubicBezTo>
                      <a:pt x="64675" y="162687"/>
                      <a:pt x="76867" y="156020"/>
                      <a:pt x="85725" y="147066"/>
                    </a:cubicBezTo>
                    <a:lnTo>
                      <a:pt x="83248" y="159544"/>
                    </a:lnTo>
                    <a:lnTo>
                      <a:pt x="119634" y="159544"/>
                    </a:lnTo>
                    <a:lnTo>
                      <a:pt x="139922" y="58483"/>
                    </a:lnTo>
                    <a:cubicBezTo>
                      <a:pt x="140779" y="54197"/>
                      <a:pt x="141446" y="48673"/>
                      <a:pt x="141446" y="44387"/>
                    </a:cubicBezTo>
                    <a:cubicBezTo>
                      <a:pt x="141541" y="10478"/>
                      <a:pt x="111728" y="0"/>
                      <a:pt x="85154" y="0"/>
                    </a:cubicBezTo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6" name="Freihandform: Form 45">
                <a:extLst>
                  <a:ext uri="{FF2B5EF4-FFF2-40B4-BE49-F238E27FC236}">
                    <a16:creationId xmlns:a16="http://schemas.microsoft.com/office/drawing/2014/main" id="{52AC3E25-D533-41E1-933D-CE249CC1AAAB}"/>
                  </a:ext>
                </a:extLst>
              </p:cNvPr>
              <p:cNvSpPr/>
              <p:nvPr/>
            </p:nvSpPr>
            <p:spPr>
              <a:xfrm>
                <a:off x="7825183" y="3521790"/>
                <a:ext cx="301637" cy="316001"/>
              </a:xfrm>
              <a:custGeom>
                <a:avLst/>
                <a:gdLst>
                  <a:gd name="connsiteX0" fmla="*/ 65341 w 200025"/>
                  <a:gd name="connsiteY0" fmla="*/ 92012 h 209550"/>
                  <a:gd name="connsiteX1" fmla="*/ 154210 w 200025"/>
                  <a:gd name="connsiteY1" fmla="*/ 0 h 209550"/>
                  <a:gd name="connsiteX2" fmla="*/ 205835 w 200025"/>
                  <a:gd name="connsiteY2" fmla="*/ 0 h 209550"/>
                  <a:gd name="connsiteX3" fmla="*/ 118300 w 200025"/>
                  <a:gd name="connsiteY3" fmla="*/ 86296 h 209550"/>
                  <a:gd name="connsiteX4" fmla="*/ 167450 w 200025"/>
                  <a:gd name="connsiteY4" fmla="*/ 215932 h 209550"/>
                  <a:gd name="connsiteX5" fmla="*/ 121920 w 200025"/>
                  <a:gd name="connsiteY5" fmla="*/ 215932 h 209550"/>
                  <a:gd name="connsiteX6" fmla="*/ 87344 w 200025"/>
                  <a:gd name="connsiteY6" fmla="*/ 116681 h 209550"/>
                  <a:gd name="connsiteX7" fmla="*/ 53816 w 200025"/>
                  <a:gd name="connsiteY7" fmla="*/ 149828 h 209550"/>
                  <a:gd name="connsiteX8" fmla="*/ 40481 w 200025"/>
                  <a:gd name="connsiteY8" fmla="*/ 215932 h 209550"/>
                  <a:gd name="connsiteX9" fmla="*/ 0 w 200025"/>
                  <a:gd name="connsiteY9" fmla="*/ 215932 h 209550"/>
                  <a:gd name="connsiteX10" fmla="*/ 43434 w 200025"/>
                  <a:gd name="connsiteY10" fmla="*/ 0 h 209550"/>
                  <a:gd name="connsiteX11" fmla="*/ 83820 w 200025"/>
                  <a:gd name="connsiteY1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0025" h="209550">
                    <a:moveTo>
                      <a:pt x="65341" y="92012"/>
                    </a:moveTo>
                    <a:lnTo>
                      <a:pt x="154210" y="0"/>
                    </a:lnTo>
                    <a:lnTo>
                      <a:pt x="205835" y="0"/>
                    </a:lnTo>
                    <a:lnTo>
                      <a:pt x="118300" y="86296"/>
                    </a:lnTo>
                    <a:lnTo>
                      <a:pt x="167450" y="215932"/>
                    </a:lnTo>
                    <a:lnTo>
                      <a:pt x="121920" y="215932"/>
                    </a:lnTo>
                    <a:lnTo>
                      <a:pt x="87344" y="116681"/>
                    </a:lnTo>
                    <a:lnTo>
                      <a:pt x="53816" y="149828"/>
                    </a:lnTo>
                    <a:lnTo>
                      <a:pt x="40481" y="215932"/>
                    </a:lnTo>
                    <a:lnTo>
                      <a:pt x="0" y="215932"/>
                    </a:lnTo>
                    <a:lnTo>
                      <a:pt x="43434" y="0"/>
                    </a:lnTo>
                    <a:lnTo>
                      <a:pt x="83820" y="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47" name="Freihandform: Form 46">
                <a:extLst>
                  <a:ext uri="{FF2B5EF4-FFF2-40B4-BE49-F238E27FC236}">
                    <a16:creationId xmlns:a16="http://schemas.microsoft.com/office/drawing/2014/main" id="{76939DEC-F890-4697-A22F-6975C8E9CF25}"/>
                  </a:ext>
                </a:extLst>
              </p:cNvPr>
              <p:cNvSpPr/>
              <p:nvPr/>
            </p:nvSpPr>
            <p:spPr>
              <a:xfrm>
                <a:off x="9182119" y="3521790"/>
                <a:ext cx="344728" cy="316001"/>
              </a:xfrm>
              <a:custGeom>
                <a:avLst/>
                <a:gdLst>
                  <a:gd name="connsiteX0" fmla="*/ 43434 w 228600"/>
                  <a:gd name="connsiteY0" fmla="*/ 0 h 209550"/>
                  <a:gd name="connsiteX1" fmla="*/ 80581 w 228600"/>
                  <a:gd name="connsiteY1" fmla="*/ 0 h 209550"/>
                  <a:gd name="connsiteX2" fmla="*/ 111442 w 228600"/>
                  <a:gd name="connsiteY2" fmla="*/ 116110 h 209550"/>
                  <a:gd name="connsiteX3" fmla="*/ 190214 w 228600"/>
                  <a:gd name="connsiteY3" fmla="*/ 0 h 209550"/>
                  <a:gd name="connsiteX4" fmla="*/ 228885 w 228600"/>
                  <a:gd name="connsiteY4" fmla="*/ 0 h 209550"/>
                  <a:gd name="connsiteX5" fmla="*/ 185547 w 228600"/>
                  <a:gd name="connsiteY5" fmla="*/ 216027 h 209550"/>
                  <a:gd name="connsiteX6" fmla="*/ 146018 w 228600"/>
                  <a:gd name="connsiteY6" fmla="*/ 216027 h 209550"/>
                  <a:gd name="connsiteX7" fmla="*/ 171450 w 228600"/>
                  <a:gd name="connsiteY7" fmla="*/ 89154 h 209550"/>
                  <a:gd name="connsiteX8" fmla="*/ 116967 w 228600"/>
                  <a:gd name="connsiteY8" fmla="*/ 169259 h 209550"/>
                  <a:gd name="connsiteX9" fmla="*/ 89725 w 228600"/>
                  <a:gd name="connsiteY9" fmla="*/ 169259 h 209550"/>
                  <a:gd name="connsiteX10" fmla="*/ 65246 w 228600"/>
                  <a:gd name="connsiteY10" fmla="*/ 88297 h 209550"/>
                  <a:gd name="connsiteX11" fmla="*/ 39624 w 228600"/>
                  <a:gd name="connsiteY11" fmla="*/ 216027 h 209550"/>
                  <a:gd name="connsiteX12" fmla="*/ 0 w 228600"/>
                  <a:gd name="connsiteY12" fmla="*/ 216027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28600" h="209550">
                    <a:moveTo>
                      <a:pt x="43434" y="0"/>
                    </a:moveTo>
                    <a:lnTo>
                      <a:pt x="80581" y="0"/>
                    </a:lnTo>
                    <a:lnTo>
                      <a:pt x="111442" y="116110"/>
                    </a:lnTo>
                    <a:lnTo>
                      <a:pt x="190214" y="0"/>
                    </a:lnTo>
                    <a:lnTo>
                      <a:pt x="228885" y="0"/>
                    </a:lnTo>
                    <a:lnTo>
                      <a:pt x="185547" y="216027"/>
                    </a:lnTo>
                    <a:lnTo>
                      <a:pt x="146018" y="216027"/>
                    </a:lnTo>
                    <a:lnTo>
                      <a:pt x="171450" y="89154"/>
                    </a:lnTo>
                    <a:lnTo>
                      <a:pt x="116967" y="169259"/>
                    </a:lnTo>
                    <a:lnTo>
                      <a:pt x="89725" y="169259"/>
                    </a:lnTo>
                    <a:lnTo>
                      <a:pt x="65246" y="88297"/>
                    </a:lnTo>
                    <a:lnTo>
                      <a:pt x="39624" y="216027"/>
                    </a:lnTo>
                    <a:lnTo>
                      <a:pt x="0" y="21602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</p:grpSp>
      <p:sp>
        <p:nvSpPr>
          <p:cNvPr id="58" name="Bildplatzhalter 57">
            <a:extLst>
              <a:ext uri="{FF2B5EF4-FFF2-40B4-BE49-F238E27FC236}">
                <a16:creationId xmlns:a16="http://schemas.microsoft.com/office/drawing/2014/main" id="{4E671C3D-B366-4D9D-92B9-097A152EDB9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191125" y="0"/>
            <a:ext cx="7000875" cy="6858000"/>
          </a:xfrm>
          <a:custGeom>
            <a:avLst/>
            <a:gdLst>
              <a:gd name="connsiteX0" fmla="*/ 2926252 w 7000875"/>
              <a:gd name="connsiteY0" fmla="*/ 0 h 6858000"/>
              <a:gd name="connsiteX1" fmla="*/ 7000875 w 7000875"/>
              <a:gd name="connsiteY1" fmla="*/ 0 h 6858000"/>
              <a:gd name="connsiteX2" fmla="*/ 7000875 w 7000875"/>
              <a:gd name="connsiteY2" fmla="*/ 6858000 h 6858000"/>
              <a:gd name="connsiteX3" fmla="*/ 3217964 w 7000875"/>
              <a:gd name="connsiteY3" fmla="*/ 6858000 h 6858000"/>
              <a:gd name="connsiteX4" fmla="*/ 1898650 w 7000875"/>
              <a:gd name="connsiteY4" fmla="*/ 6488906 h 6858000"/>
              <a:gd name="connsiteX5" fmla="*/ 2152650 w 7000875"/>
              <a:gd name="connsiteY5" fmla="*/ 5216525 h 6858000"/>
              <a:gd name="connsiteX6" fmla="*/ 1501775 w 7000875"/>
              <a:gd name="connsiteY6" fmla="*/ 4891087 h 6858000"/>
              <a:gd name="connsiteX7" fmla="*/ 793750 w 7000875"/>
              <a:gd name="connsiteY7" fmla="*/ 5054600 h 6858000"/>
              <a:gd name="connsiteX8" fmla="*/ 0 w 7000875"/>
              <a:gd name="connsiteY8" fmla="*/ 3505200 h 6858000"/>
              <a:gd name="connsiteX9" fmla="*/ 1349375 w 7000875"/>
              <a:gd name="connsiteY9" fmla="*/ 1050925 h 6858000"/>
              <a:gd name="connsiteX10" fmla="*/ 1095375 w 7000875"/>
              <a:gd name="connsiteY10" fmla="*/ 4984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000875" h="6858000">
                <a:moveTo>
                  <a:pt x="2926252" y="0"/>
                </a:moveTo>
                <a:lnTo>
                  <a:pt x="7000875" y="0"/>
                </a:lnTo>
                <a:lnTo>
                  <a:pt x="7000875" y="6858000"/>
                </a:lnTo>
                <a:lnTo>
                  <a:pt x="3217964" y="6858000"/>
                </a:lnTo>
                <a:lnTo>
                  <a:pt x="1898650" y="6488906"/>
                </a:lnTo>
                <a:lnTo>
                  <a:pt x="2152650" y="5216525"/>
                </a:lnTo>
                <a:lnTo>
                  <a:pt x="1501775" y="4891087"/>
                </a:lnTo>
                <a:lnTo>
                  <a:pt x="793750" y="5054600"/>
                </a:lnTo>
                <a:lnTo>
                  <a:pt x="0" y="3505200"/>
                </a:lnTo>
                <a:lnTo>
                  <a:pt x="1349375" y="1050925"/>
                </a:lnTo>
                <a:lnTo>
                  <a:pt x="1095375" y="498475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108000" tIns="108000" rIns="108000" bIns="108000">
            <a:noAutofit/>
          </a:bodyPr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on the icon to insert an image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EF2DC661-8E35-4D74-9DAB-416022777279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26" name="Linientext 05,60">
              <a:extLst>
                <a:ext uri="{FF2B5EF4-FFF2-40B4-BE49-F238E27FC236}">
                  <a16:creationId xmlns:a16="http://schemas.microsoft.com/office/drawing/2014/main" id="{A9A602AC-0DE3-4CE9-A4BB-A24F9CAE77BA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" name="Hilfslinie 12,10">
              <a:extLst>
                <a:ext uri="{FF2B5EF4-FFF2-40B4-BE49-F238E27FC236}">
                  <a16:creationId xmlns:a16="http://schemas.microsoft.com/office/drawing/2014/main" id="{D4DC5C5A-0707-4D8F-8FD3-B83DFB8CF315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Linientext 12,10">
              <a:extLst>
                <a:ext uri="{FF2B5EF4-FFF2-40B4-BE49-F238E27FC236}">
                  <a16:creationId xmlns:a16="http://schemas.microsoft.com/office/drawing/2014/main" id="{23D83D95-DE68-43DC-A6C7-DA4D6D60FB80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30" name="Linientext 13,95">
              <a:extLst>
                <a:ext uri="{FF2B5EF4-FFF2-40B4-BE49-F238E27FC236}">
                  <a16:creationId xmlns:a16="http://schemas.microsoft.com/office/drawing/2014/main" id="{A4C7808D-D0BB-44B1-8DB2-75F46FC3BE83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31" name="Hilfslinie 13,95">
              <a:extLst>
                <a:ext uri="{FF2B5EF4-FFF2-40B4-BE49-F238E27FC236}">
                  <a16:creationId xmlns:a16="http://schemas.microsoft.com/office/drawing/2014/main" id="{3DFA5005-CEA8-42FF-AB9C-D10EFDEA893C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Hilfslinie 12,10">
              <a:extLst>
                <a:ext uri="{FF2B5EF4-FFF2-40B4-BE49-F238E27FC236}">
                  <a16:creationId xmlns:a16="http://schemas.microsoft.com/office/drawing/2014/main" id="{6C421D85-9BDD-49C1-BA81-FD7F50580604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Linientext 12,10">
              <a:extLst>
                <a:ext uri="{FF2B5EF4-FFF2-40B4-BE49-F238E27FC236}">
                  <a16:creationId xmlns:a16="http://schemas.microsoft.com/office/drawing/2014/main" id="{D0C401F0-F79F-448A-8903-1EFD570717FE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49" name="Linientext 13,95">
              <a:extLst>
                <a:ext uri="{FF2B5EF4-FFF2-40B4-BE49-F238E27FC236}">
                  <a16:creationId xmlns:a16="http://schemas.microsoft.com/office/drawing/2014/main" id="{E49AC894-297B-4896-BEB8-D5CDAB00756A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50" name="Hilfslinie 13,95">
              <a:extLst>
                <a:ext uri="{FF2B5EF4-FFF2-40B4-BE49-F238E27FC236}">
                  <a16:creationId xmlns:a16="http://schemas.microsoft.com/office/drawing/2014/main" id="{E84611B6-E25F-4926-B6CB-541EF7131C4D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Linientext 05,60">
              <a:extLst>
                <a:ext uri="{FF2B5EF4-FFF2-40B4-BE49-F238E27FC236}">
                  <a16:creationId xmlns:a16="http://schemas.microsoft.com/office/drawing/2014/main" id="{B2958021-0391-43C9-B445-984ACB9A83A2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2" name="Linientext 05,60">
              <a:extLst>
                <a:ext uri="{FF2B5EF4-FFF2-40B4-BE49-F238E27FC236}">
                  <a16:creationId xmlns:a16="http://schemas.microsoft.com/office/drawing/2014/main" id="{A216F11E-94DA-4CE7-AD9A-BE7D67DA1A00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3" name="Linientext 05,60">
              <a:extLst>
                <a:ext uri="{FF2B5EF4-FFF2-40B4-BE49-F238E27FC236}">
                  <a16:creationId xmlns:a16="http://schemas.microsoft.com/office/drawing/2014/main" id="{AE8BDC4E-8699-43F7-B049-BDF70EBDED05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4" name="Linientext 05,60">
              <a:extLst>
                <a:ext uri="{FF2B5EF4-FFF2-40B4-BE49-F238E27FC236}">
                  <a16:creationId xmlns:a16="http://schemas.microsoft.com/office/drawing/2014/main" id="{9197A9E0-D0A0-4442-A665-19B76F6A79C8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5" name="Hilfslinie 05,60">
              <a:extLst>
                <a:ext uri="{FF2B5EF4-FFF2-40B4-BE49-F238E27FC236}">
                  <a16:creationId xmlns:a16="http://schemas.microsoft.com/office/drawing/2014/main" id="{0936D762-3A1A-46A2-B7DD-FB1F06EB10EA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Hilfslinie 05,60">
              <a:extLst>
                <a:ext uri="{FF2B5EF4-FFF2-40B4-BE49-F238E27FC236}">
                  <a16:creationId xmlns:a16="http://schemas.microsoft.com/office/drawing/2014/main" id="{FC8EC070-20BD-4B26-9748-8010E65C6A7E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Hilfslinie 05,60">
              <a:extLst>
                <a:ext uri="{FF2B5EF4-FFF2-40B4-BE49-F238E27FC236}">
                  <a16:creationId xmlns:a16="http://schemas.microsoft.com/office/drawing/2014/main" id="{A754F5B6-1B32-4255-AB09-4A309207255C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Hilfslinie 05,60">
              <a:extLst>
                <a:ext uri="{FF2B5EF4-FFF2-40B4-BE49-F238E27FC236}">
                  <a16:creationId xmlns:a16="http://schemas.microsoft.com/office/drawing/2014/main" id="{FE4BF6CD-A0CC-46F6-954F-0D279721A23A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Hilfslinie 05,60">
              <a:extLst>
                <a:ext uri="{FF2B5EF4-FFF2-40B4-BE49-F238E27FC236}">
                  <a16:creationId xmlns:a16="http://schemas.microsoft.com/office/drawing/2014/main" id="{A5ECC434-D1BF-491C-9E1B-F0C0745CE954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Linientext 05,60">
              <a:extLst>
                <a:ext uri="{FF2B5EF4-FFF2-40B4-BE49-F238E27FC236}">
                  <a16:creationId xmlns:a16="http://schemas.microsoft.com/office/drawing/2014/main" id="{4494A79D-F0FD-46D3-8BDF-85C87C7F9C6A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3" name="Hilfslinie 05,60">
              <a:extLst>
                <a:ext uri="{FF2B5EF4-FFF2-40B4-BE49-F238E27FC236}">
                  <a16:creationId xmlns:a16="http://schemas.microsoft.com/office/drawing/2014/main" id="{144A3D02-69E5-44C0-B2E8-78A8F0A9062A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193452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Slide Blu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A1B0686-7F3E-4282-8088-A02D7E626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5759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A1B0686-7F3E-4282-8088-A02D7E626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528D81-E54E-4B06-9D3A-CC1C83CD28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00" b="0" i="1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AFFAF223-7830-4894-B325-F1DE709ED4E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B5A4979-EAA9-204F-8D1D-26260CD06C9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5959" y="3139281"/>
            <a:ext cx="9641678" cy="581698"/>
          </a:xfrm>
        </p:spPr>
        <p:txBody>
          <a:bodyPr wrap="none" anchor="b">
            <a:spAutoFit/>
          </a:bodyPr>
          <a:lstStyle>
            <a:lvl1pPr algn="l">
              <a:defRPr sz="4200" i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 Chapter, Arial, 42 </a:t>
            </a:r>
            <a:r>
              <a:rPr lang="en-US" dirty="0" err="1"/>
              <a:t>pt</a:t>
            </a:r>
            <a:r>
              <a:rPr lang="en-US" dirty="0"/>
              <a:t>, Italic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09A28CC2-AB54-8049-AA13-7EF80A6E29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160332" y="3786597"/>
            <a:ext cx="6407781" cy="492443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 marL="0" indent="0" algn="r">
              <a:buNone/>
              <a:defRPr sz="32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Chapter, Arial, 32 </a:t>
            </a:r>
            <a:r>
              <a:rPr lang="en-US" dirty="0" err="1"/>
              <a:t>pt</a:t>
            </a:r>
            <a:r>
              <a:rPr lang="en-US" dirty="0"/>
              <a:t>, italic</a:t>
            </a: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B1923152-EC92-4644-B419-3C9AB85888A6}"/>
              </a:ext>
            </a:extLst>
          </p:cNvPr>
          <p:cNvGrpSpPr/>
          <p:nvPr userDrawn="1"/>
        </p:nvGrpSpPr>
        <p:grpSpPr>
          <a:xfrm>
            <a:off x="623888" y="6415097"/>
            <a:ext cx="841094" cy="111909"/>
            <a:chOff x="223019" y="5512949"/>
            <a:chExt cx="2540191" cy="337977"/>
          </a:xfrm>
          <a:solidFill>
            <a:schemeClr val="bg1"/>
          </a:solidFill>
        </p:grpSpPr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0C3110CA-7685-4494-A0D7-DDD3EF878D16}"/>
                </a:ext>
              </a:extLst>
            </p:cNvPr>
            <p:cNvSpPr/>
            <p:nvPr/>
          </p:nvSpPr>
          <p:spPr>
            <a:xfrm>
              <a:off x="490471" y="5606744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C3731F20-3DF3-49EC-93BC-CE009F4F083F}"/>
                </a:ext>
              </a:extLst>
            </p:cNvPr>
            <p:cNvSpPr/>
            <p:nvPr/>
          </p:nvSpPr>
          <p:spPr>
            <a:xfrm>
              <a:off x="882599" y="5611914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4B11AF3-D27C-467C-85C9-A01D48A88851}"/>
                </a:ext>
              </a:extLst>
            </p:cNvPr>
            <p:cNvSpPr/>
            <p:nvPr/>
          </p:nvSpPr>
          <p:spPr>
            <a:xfrm>
              <a:off x="1328017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95156264-ADE6-4F77-ADA9-7E55A18A7AB9}"/>
                </a:ext>
              </a:extLst>
            </p:cNvPr>
            <p:cNvSpPr/>
            <p:nvPr/>
          </p:nvSpPr>
          <p:spPr>
            <a:xfrm>
              <a:off x="2705755" y="5512949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B95F56B9-5814-4824-90C5-0131933A8110}"/>
                </a:ext>
              </a:extLst>
            </p:cNvPr>
            <p:cNvSpPr/>
            <p:nvPr/>
          </p:nvSpPr>
          <p:spPr>
            <a:xfrm>
              <a:off x="2427843" y="5606026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5A8E1466-D629-46F9-A12A-1F66E9EAB3F0}"/>
                </a:ext>
              </a:extLst>
            </p:cNvPr>
            <p:cNvSpPr/>
            <p:nvPr/>
          </p:nvSpPr>
          <p:spPr>
            <a:xfrm>
              <a:off x="2651342" y="5614356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23367D80-4B6D-4406-B192-B7E2939C84FD}"/>
                </a:ext>
              </a:extLst>
            </p:cNvPr>
            <p:cNvSpPr/>
            <p:nvPr/>
          </p:nvSpPr>
          <p:spPr>
            <a:xfrm>
              <a:off x="1914198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9A352829-F0FD-42A0-AAE4-75C7C60605DA}"/>
                </a:ext>
              </a:extLst>
            </p:cNvPr>
            <p:cNvSpPr/>
            <p:nvPr/>
          </p:nvSpPr>
          <p:spPr>
            <a:xfrm>
              <a:off x="1117732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7E0595F9-0EB2-441F-8830-FFDAA38E293C}"/>
                </a:ext>
              </a:extLst>
            </p:cNvPr>
            <p:cNvSpPr/>
            <p:nvPr/>
          </p:nvSpPr>
          <p:spPr>
            <a:xfrm>
              <a:off x="2154790" y="5521567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E933E462-E8E7-4C92-B374-E9617984575B}"/>
                </a:ext>
              </a:extLst>
            </p:cNvPr>
            <p:cNvSpPr/>
            <p:nvPr/>
          </p:nvSpPr>
          <p:spPr>
            <a:xfrm>
              <a:off x="637269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3734E1A3-D3F2-43E2-B4D8-17CD935AD0B0}"/>
                </a:ext>
              </a:extLst>
            </p:cNvPr>
            <p:cNvSpPr/>
            <p:nvPr/>
          </p:nvSpPr>
          <p:spPr>
            <a:xfrm>
              <a:off x="223019" y="5521567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051ED64F-4647-4A88-890D-56443CA821A4}"/>
                </a:ext>
              </a:extLst>
            </p:cNvPr>
            <p:cNvSpPr/>
            <p:nvPr/>
          </p:nvSpPr>
          <p:spPr>
            <a:xfrm>
              <a:off x="1579955" y="5521567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C7ABCFD9-72E2-401D-96F5-A537790AD589}"/>
              </a:ext>
            </a:extLst>
          </p:cNvPr>
          <p:cNvSpPr/>
          <p:nvPr userDrawn="1"/>
        </p:nvSpPr>
        <p:spPr>
          <a:xfrm>
            <a:off x="1796103" y="6422713"/>
            <a:ext cx="1189211" cy="131809"/>
          </a:xfrm>
          <a:custGeom>
            <a:avLst/>
            <a:gdLst>
              <a:gd name="connsiteX0" fmla="*/ 3869817 w 3867150"/>
              <a:gd name="connsiteY0" fmla="*/ 118300 h 428625"/>
              <a:gd name="connsiteX1" fmla="*/ 3787617 w 3867150"/>
              <a:gd name="connsiteY1" fmla="*/ 87916 h 428625"/>
              <a:gd name="connsiteX2" fmla="*/ 3705416 w 3867150"/>
              <a:gd name="connsiteY2" fmla="*/ 116396 h 428625"/>
              <a:gd name="connsiteX3" fmla="*/ 3680270 w 3867150"/>
              <a:gd name="connsiteY3" fmla="*/ 178213 h 428625"/>
              <a:gd name="connsiteX4" fmla="*/ 3739610 w 3867150"/>
              <a:gd name="connsiteY4" fmla="*/ 234315 h 428625"/>
              <a:gd name="connsiteX5" fmla="*/ 3771995 w 3867150"/>
              <a:gd name="connsiteY5" fmla="*/ 239554 h 428625"/>
              <a:gd name="connsiteX6" fmla="*/ 3795332 w 3867150"/>
              <a:gd name="connsiteY6" fmla="*/ 260032 h 428625"/>
              <a:gd name="connsiteX7" fmla="*/ 3744944 w 3867150"/>
              <a:gd name="connsiteY7" fmla="*/ 290894 h 428625"/>
              <a:gd name="connsiteX8" fmla="*/ 3687985 w 3867150"/>
              <a:gd name="connsiteY8" fmla="*/ 267081 h 428625"/>
              <a:gd name="connsiteX9" fmla="*/ 3645694 w 3867150"/>
              <a:gd name="connsiteY9" fmla="*/ 304133 h 428625"/>
              <a:gd name="connsiteX10" fmla="*/ 3741135 w 3867150"/>
              <a:gd name="connsiteY10" fmla="*/ 341186 h 428625"/>
              <a:gd name="connsiteX11" fmla="*/ 3827145 w 3867150"/>
              <a:gd name="connsiteY11" fmla="*/ 314134 h 428625"/>
              <a:gd name="connsiteX12" fmla="*/ 3853720 w 3867150"/>
              <a:gd name="connsiteY12" fmla="*/ 254222 h 428625"/>
              <a:gd name="connsiteX13" fmla="*/ 3793903 w 3867150"/>
              <a:gd name="connsiteY13" fmla="*/ 190024 h 428625"/>
              <a:gd name="connsiteX14" fmla="*/ 3761994 w 3867150"/>
              <a:gd name="connsiteY14" fmla="*/ 184785 h 428625"/>
              <a:gd name="connsiteX15" fmla="*/ 3739134 w 3867150"/>
              <a:gd name="connsiteY15" fmla="*/ 166211 h 428625"/>
              <a:gd name="connsiteX16" fmla="*/ 3782377 w 3867150"/>
              <a:gd name="connsiteY16" fmla="*/ 136303 h 428625"/>
              <a:gd name="connsiteX17" fmla="*/ 3829431 w 3867150"/>
              <a:gd name="connsiteY17" fmla="*/ 153924 h 428625"/>
              <a:gd name="connsiteX18" fmla="*/ 3869817 w 3867150"/>
              <a:gd name="connsiteY18" fmla="*/ 118300 h 428625"/>
              <a:gd name="connsiteX19" fmla="*/ 3661220 w 3867150"/>
              <a:gd name="connsiteY19" fmla="*/ 122111 h 428625"/>
              <a:gd name="connsiteX20" fmla="*/ 3588544 w 3867150"/>
              <a:gd name="connsiteY20" fmla="*/ 87916 h 428625"/>
              <a:gd name="connsiteX21" fmla="*/ 3462623 w 3867150"/>
              <a:gd name="connsiteY21" fmla="*/ 214313 h 428625"/>
              <a:gd name="connsiteX22" fmla="*/ 3458813 w 3867150"/>
              <a:gd name="connsiteY22" fmla="*/ 252794 h 428625"/>
              <a:gd name="connsiteX23" fmla="*/ 3547586 w 3867150"/>
              <a:gd name="connsiteY23" fmla="*/ 341186 h 428625"/>
              <a:gd name="connsiteX24" fmla="*/ 3629311 w 3867150"/>
              <a:gd name="connsiteY24" fmla="*/ 309848 h 428625"/>
              <a:gd name="connsiteX25" fmla="*/ 3596545 w 3867150"/>
              <a:gd name="connsiteY25" fmla="*/ 267557 h 428625"/>
              <a:gd name="connsiteX26" fmla="*/ 3553301 w 3867150"/>
              <a:gd name="connsiteY26" fmla="*/ 288512 h 428625"/>
              <a:gd name="connsiteX27" fmla="*/ 3518154 w 3867150"/>
              <a:gd name="connsiteY27" fmla="*/ 246221 h 428625"/>
              <a:gd name="connsiteX28" fmla="*/ 3521488 w 3867150"/>
              <a:gd name="connsiteY28" fmla="*/ 214313 h 428625"/>
              <a:gd name="connsiteX29" fmla="*/ 3547586 w 3867150"/>
              <a:gd name="connsiteY29" fmla="*/ 156305 h 428625"/>
              <a:gd name="connsiteX30" fmla="*/ 3582734 w 3867150"/>
              <a:gd name="connsiteY30" fmla="*/ 140589 h 428625"/>
              <a:gd name="connsiteX31" fmla="*/ 3616928 w 3867150"/>
              <a:gd name="connsiteY31" fmla="*/ 161068 h 428625"/>
              <a:gd name="connsiteX32" fmla="*/ 3661220 w 3867150"/>
              <a:gd name="connsiteY32" fmla="*/ 122111 h 428625"/>
              <a:gd name="connsiteX33" fmla="*/ 3456813 w 3867150"/>
              <a:gd name="connsiteY33" fmla="*/ 953 h 428625"/>
              <a:gd name="connsiteX34" fmla="*/ 3395948 w 3867150"/>
              <a:gd name="connsiteY34" fmla="*/ 953 h 428625"/>
              <a:gd name="connsiteX35" fmla="*/ 3386423 w 3867150"/>
              <a:gd name="connsiteY35" fmla="*/ 49816 h 428625"/>
              <a:gd name="connsiteX36" fmla="*/ 3446812 w 3867150"/>
              <a:gd name="connsiteY36" fmla="*/ 49816 h 428625"/>
              <a:gd name="connsiteX37" fmla="*/ 3456813 w 3867150"/>
              <a:gd name="connsiteY37" fmla="*/ 953 h 428625"/>
              <a:gd name="connsiteX38" fmla="*/ 3436906 w 3867150"/>
              <a:gd name="connsiteY38" fmla="*/ 98393 h 428625"/>
              <a:gd name="connsiteX39" fmla="*/ 3377946 w 3867150"/>
              <a:gd name="connsiteY39" fmla="*/ 98393 h 428625"/>
              <a:gd name="connsiteX40" fmla="*/ 3329940 w 3867150"/>
              <a:gd name="connsiteY40" fmla="*/ 338423 h 428625"/>
              <a:gd name="connsiteX41" fmla="*/ 3388900 w 3867150"/>
              <a:gd name="connsiteY41" fmla="*/ 338423 h 428625"/>
              <a:gd name="connsiteX42" fmla="*/ 3436906 w 3867150"/>
              <a:gd name="connsiteY42" fmla="*/ 98393 h 428625"/>
              <a:gd name="connsiteX43" fmla="*/ 3328035 w 3867150"/>
              <a:gd name="connsiteY43" fmla="*/ 98393 h 428625"/>
              <a:gd name="connsiteX44" fmla="*/ 3287173 w 3867150"/>
              <a:gd name="connsiteY44" fmla="*/ 98393 h 428625"/>
              <a:gd name="connsiteX45" fmla="*/ 3301937 w 3867150"/>
              <a:gd name="connsiteY45" fmla="*/ 24289 h 428625"/>
              <a:gd name="connsiteX46" fmla="*/ 3242977 w 3867150"/>
              <a:gd name="connsiteY46" fmla="*/ 24289 h 428625"/>
              <a:gd name="connsiteX47" fmla="*/ 3228213 w 3867150"/>
              <a:gd name="connsiteY47" fmla="*/ 98393 h 428625"/>
              <a:gd name="connsiteX48" fmla="*/ 3203067 w 3867150"/>
              <a:gd name="connsiteY48" fmla="*/ 98393 h 428625"/>
              <a:gd name="connsiteX49" fmla="*/ 3194019 w 3867150"/>
              <a:gd name="connsiteY49" fmla="*/ 142970 h 428625"/>
              <a:gd name="connsiteX50" fmla="*/ 3219164 w 3867150"/>
              <a:gd name="connsiteY50" fmla="*/ 142970 h 428625"/>
              <a:gd name="connsiteX51" fmla="*/ 3194971 w 3867150"/>
              <a:gd name="connsiteY51" fmla="*/ 264223 h 428625"/>
              <a:gd name="connsiteX52" fmla="*/ 3193066 w 3867150"/>
              <a:gd name="connsiteY52" fmla="*/ 284702 h 428625"/>
              <a:gd name="connsiteX53" fmla="*/ 3252883 w 3867150"/>
              <a:gd name="connsiteY53" fmla="*/ 338328 h 428625"/>
              <a:gd name="connsiteX54" fmla="*/ 3283268 w 3867150"/>
              <a:gd name="connsiteY54" fmla="*/ 338328 h 428625"/>
              <a:gd name="connsiteX55" fmla="*/ 3293269 w 3867150"/>
              <a:gd name="connsiteY55" fmla="*/ 288988 h 428625"/>
              <a:gd name="connsiteX56" fmla="*/ 3271933 w 3867150"/>
              <a:gd name="connsiteY56" fmla="*/ 288988 h 428625"/>
              <a:gd name="connsiteX57" fmla="*/ 3252883 w 3867150"/>
              <a:gd name="connsiteY57" fmla="*/ 273748 h 428625"/>
              <a:gd name="connsiteX58" fmla="*/ 3253836 w 3867150"/>
              <a:gd name="connsiteY58" fmla="*/ 264700 h 428625"/>
              <a:gd name="connsiteX59" fmla="*/ 3278029 w 3867150"/>
              <a:gd name="connsiteY59" fmla="*/ 142970 h 428625"/>
              <a:gd name="connsiteX60" fmla="*/ 3318891 w 3867150"/>
              <a:gd name="connsiteY60" fmla="*/ 142970 h 428625"/>
              <a:gd name="connsiteX61" fmla="*/ 3328035 w 3867150"/>
              <a:gd name="connsiteY61" fmla="*/ 98393 h 428625"/>
              <a:gd name="connsiteX62" fmla="*/ 3163062 w 3867150"/>
              <a:gd name="connsiteY62" fmla="*/ 118300 h 428625"/>
              <a:gd name="connsiteX63" fmla="*/ 3080861 w 3867150"/>
              <a:gd name="connsiteY63" fmla="*/ 87916 h 428625"/>
              <a:gd name="connsiteX64" fmla="*/ 2998565 w 3867150"/>
              <a:gd name="connsiteY64" fmla="*/ 116396 h 428625"/>
              <a:gd name="connsiteX65" fmla="*/ 2973420 w 3867150"/>
              <a:gd name="connsiteY65" fmla="*/ 178213 h 428625"/>
              <a:gd name="connsiteX66" fmla="*/ 3032760 w 3867150"/>
              <a:gd name="connsiteY66" fmla="*/ 234315 h 428625"/>
              <a:gd name="connsiteX67" fmla="*/ 3065145 w 3867150"/>
              <a:gd name="connsiteY67" fmla="*/ 239554 h 428625"/>
              <a:gd name="connsiteX68" fmla="*/ 3088481 w 3867150"/>
              <a:gd name="connsiteY68" fmla="*/ 260032 h 428625"/>
              <a:gd name="connsiteX69" fmla="*/ 3037999 w 3867150"/>
              <a:gd name="connsiteY69" fmla="*/ 290894 h 428625"/>
              <a:gd name="connsiteX70" fmla="*/ 2981039 w 3867150"/>
              <a:gd name="connsiteY70" fmla="*/ 267081 h 428625"/>
              <a:gd name="connsiteX71" fmla="*/ 2938748 w 3867150"/>
              <a:gd name="connsiteY71" fmla="*/ 304133 h 428625"/>
              <a:gd name="connsiteX72" fmla="*/ 3034189 w 3867150"/>
              <a:gd name="connsiteY72" fmla="*/ 341186 h 428625"/>
              <a:gd name="connsiteX73" fmla="*/ 3120295 w 3867150"/>
              <a:gd name="connsiteY73" fmla="*/ 314134 h 428625"/>
              <a:gd name="connsiteX74" fmla="*/ 3146870 w 3867150"/>
              <a:gd name="connsiteY74" fmla="*/ 254222 h 428625"/>
              <a:gd name="connsiteX75" fmla="*/ 3087053 w 3867150"/>
              <a:gd name="connsiteY75" fmla="*/ 190024 h 428625"/>
              <a:gd name="connsiteX76" fmla="*/ 3055144 w 3867150"/>
              <a:gd name="connsiteY76" fmla="*/ 184785 h 428625"/>
              <a:gd name="connsiteX77" fmla="*/ 3032284 w 3867150"/>
              <a:gd name="connsiteY77" fmla="*/ 166211 h 428625"/>
              <a:gd name="connsiteX78" fmla="*/ 3075623 w 3867150"/>
              <a:gd name="connsiteY78" fmla="*/ 136303 h 428625"/>
              <a:gd name="connsiteX79" fmla="*/ 3122676 w 3867150"/>
              <a:gd name="connsiteY79" fmla="*/ 153924 h 428625"/>
              <a:gd name="connsiteX80" fmla="*/ 3163062 w 3867150"/>
              <a:gd name="connsiteY80" fmla="*/ 118300 h 428625"/>
              <a:gd name="connsiteX81" fmla="*/ 2858453 w 3867150"/>
              <a:gd name="connsiteY81" fmla="*/ 231934 h 428625"/>
              <a:gd name="connsiteX82" fmla="*/ 2855595 w 3867150"/>
              <a:gd name="connsiteY82" fmla="*/ 246697 h 428625"/>
              <a:gd name="connsiteX83" fmla="*/ 2840831 w 3867150"/>
              <a:gd name="connsiteY83" fmla="*/ 278035 h 428625"/>
              <a:gd name="connsiteX84" fmla="*/ 2802350 w 3867150"/>
              <a:gd name="connsiteY84" fmla="*/ 293275 h 428625"/>
              <a:gd name="connsiteX85" fmla="*/ 2770918 w 3867150"/>
              <a:gd name="connsiteY85" fmla="*/ 269938 h 428625"/>
              <a:gd name="connsiteX86" fmla="*/ 2813209 w 3867150"/>
              <a:gd name="connsiteY86" fmla="*/ 231838 h 428625"/>
              <a:gd name="connsiteX87" fmla="*/ 2858453 w 3867150"/>
              <a:gd name="connsiteY87" fmla="*/ 231838 h 428625"/>
              <a:gd name="connsiteX88" fmla="*/ 2930652 w 3867150"/>
              <a:gd name="connsiteY88" fmla="*/ 156877 h 428625"/>
              <a:gd name="connsiteX89" fmla="*/ 2842736 w 3867150"/>
              <a:gd name="connsiteY89" fmla="*/ 88011 h 428625"/>
              <a:gd name="connsiteX90" fmla="*/ 2751011 w 3867150"/>
              <a:gd name="connsiteY90" fmla="*/ 121253 h 428625"/>
              <a:gd name="connsiteX91" fmla="*/ 2781395 w 3867150"/>
              <a:gd name="connsiteY91" fmla="*/ 160687 h 428625"/>
              <a:gd name="connsiteX92" fmla="*/ 2834640 w 3867150"/>
              <a:gd name="connsiteY92" fmla="*/ 137350 h 428625"/>
              <a:gd name="connsiteX93" fmla="*/ 2871311 w 3867150"/>
              <a:gd name="connsiteY93" fmla="*/ 164021 h 428625"/>
              <a:gd name="connsiteX94" fmla="*/ 2869883 w 3867150"/>
              <a:gd name="connsiteY94" fmla="*/ 176879 h 428625"/>
              <a:gd name="connsiteX95" fmla="*/ 2866549 w 3867150"/>
              <a:gd name="connsiteY95" fmla="*/ 191643 h 428625"/>
              <a:gd name="connsiteX96" fmla="*/ 2807589 w 3867150"/>
              <a:gd name="connsiteY96" fmla="*/ 191643 h 428625"/>
              <a:gd name="connsiteX97" fmla="*/ 2735390 w 3867150"/>
              <a:gd name="connsiteY97" fmla="*/ 217265 h 428625"/>
              <a:gd name="connsiteX98" fmla="*/ 2713101 w 3867150"/>
              <a:gd name="connsiteY98" fmla="*/ 275749 h 428625"/>
              <a:gd name="connsiteX99" fmla="*/ 2783872 w 3867150"/>
              <a:gd name="connsiteY99" fmla="*/ 340805 h 428625"/>
              <a:gd name="connsiteX100" fmla="*/ 2843784 w 3867150"/>
              <a:gd name="connsiteY100" fmla="*/ 316611 h 428625"/>
              <a:gd name="connsiteX101" fmla="*/ 2839498 w 3867150"/>
              <a:gd name="connsiteY101" fmla="*/ 338423 h 428625"/>
              <a:gd name="connsiteX102" fmla="*/ 2896076 w 3867150"/>
              <a:gd name="connsiteY102" fmla="*/ 338423 h 428625"/>
              <a:gd name="connsiteX103" fmla="*/ 2928366 w 3867150"/>
              <a:gd name="connsiteY103" fmla="*/ 178784 h 428625"/>
              <a:gd name="connsiteX104" fmla="*/ 2930652 w 3867150"/>
              <a:gd name="connsiteY104" fmla="*/ 156877 h 428625"/>
              <a:gd name="connsiteX105" fmla="*/ 2697766 w 3867150"/>
              <a:gd name="connsiteY105" fmla="*/ 0 h 428625"/>
              <a:gd name="connsiteX106" fmla="*/ 2638806 w 3867150"/>
              <a:gd name="connsiteY106" fmla="*/ 0 h 428625"/>
              <a:gd name="connsiteX107" fmla="*/ 2586133 w 3867150"/>
              <a:gd name="connsiteY107" fmla="*/ 264223 h 428625"/>
              <a:gd name="connsiteX108" fmla="*/ 2584228 w 3867150"/>
              <a:gd name="connsiteY108" fmla="*/ 284702 h 428625"/>
              <a:gd name="connsiteX109" fmla="*/ 2643569 w 3867150"/>
              <a:gd name="connsiteY109" fmla="*/ 338328 h 428625"/>
              <a:gd name="connsiteX110" fmla="*/ 2675858 w 3867150"/>
              <a:gd name="connsiteY110" fmla="*/ 338328 h 428625"/>
              <a:gd name="connsiteX111" fmla="*/ 2685860 w 3867150"/>
              <a:gd name="connsiteY111" fmla="*/ 288512 h 428625"/>
              <a:gd name="connsiteX112" fmla="*/ 2661666 w 3867150"/>
              <a:gd name="connsiteY112" fmla="*/ 288512 h 428625"/>
              <a:gd name="connsiteX113" fmla="*/ 2643569 w 3867150"/>
              <a:gd name="connsiteY113" fmla="*/ 274225 h 428625"/>
              <a:gd name="connsiteX114" fmla="*/ 2644997 w 3867150"/>
              <a:gd name="connsiteY114" fmla="*/ 263747 h 428625"/>
              <a:gd name="connsiteX115" fmla="*/ 2697766 w 3867150"/>
              <a:gd name="connsiteY115" fmla="*/ 0 h 428625"/>
              <a:gd name="connsiteX116" fmla="*/ 2514791 w 3867150"/>
              <a:gd name="connsiteY116" fmla="*/ 94583 h 428625"/>
              <a:gd name="connsiteX117" fmla="*/ 2455355 w 3867150"/>
              <a:gd name="connsiteY117" fmla="*/ 151638 h 428625"/>
              <a:gd name="connsiteX118" fmla="*/ 2399253 w 3867150"/>
              <a:gd name="connsiteY118" fmla="*/ 151638 h 428625"/>
              <a:gd name="connsiteX119" fmla="*/ 2418779 w 3867150"/>
              <a:gd name="connsiteY119" fmla="*/ 55531 h 428625"/>
              <a:gd name="connsiteX120" fmla="*/ 2476786 w 3867150"/>
              <a:gd name="connsiteY120" fmla="*/ 55531 h 428625"/>
              <a:gd name="connsiteX121" fmla="*/ 2514791 w 3867150"/>
              <a:gd name="connsiteY121" fmla="*/ 94583 h 428625"/>
              <a:gd name="connsiteX122" fmla="*/ 2578037 w 3867150"/>
              <a:gd name="connsiteY122" fmla="*/ 89345 h 428625"/>
              <a:gd name="connsiteX123" fmla="*/ 2487359 w 3867150"/>
              <a:gd name="connsiteY123" fmla="*/ 0 h 428625"/>
              <a:gd name="connsiteX124" fmla="*/ 2367058 w 3867150"/>
              <a:gd name="connsiteY124" fmla="*/ 0 h 428625"/>
              <a:gd name="connsiteX125" fmla="*/ 2299049 w 3867150"/>
              <a:gd name="connsiteY125" fmla="*/ 338328 h 428625"/>
              <a:gd name="connsiteX126" fmla="*/ 2361819 w 3867150"/>
              <a:gd name="connsiteY126" fmla="*/ 338328 h 428625"/>
              <a:gd name="connsiteX127" fmla="*/ 2387918 w 3867150"/>
              <a:gd name="connsiteY127" fmla="*/ 207169 h 428625"/>
              <a:gd name="connsiteX128" fmla="*/ 2453069 w 3867150"/>
              <a:gd name="connsiteY128" fmla="*/ 207169 h 428625"/>
              <a:gd name="connsiteX129" fmla="*/ 2578037 w 3867150"/>
              <a:gd name="connsiteY129" fmla="*/ 89345 h 428625"/>
              <a:gd name="connsiteX130" fmla="*/ 2105501 w 3867150"/>
              <a:gd name="connsiteY130" fmla="*/ 173546 h 428625"/>
              <a:gd name="connsiteX131" fmla="*/ 2101215 w 3867150"/>
              <a:gd name="connsiteY131" fmla="*/ 207740 h 428625"/>
              <a:gd name="connsiteX132" fmla="*/ 2048923 w 3867150"/>
              <a:gd name="connsiteY132" fmla="*/ 275272 h 428625"/>
              <a:gd name="connsiteX133" fmla="*/ 2019490 w 3867150"/>
              <a:gd name="connsiteY133" fmla="*/ 242506 h 428625"/>
              <a:gd name="connsiteX134" fmla="*/ 2023777 w 3867150"/>
              <a:gd name="connsiteY134" fmla="*/ 208312 h 428625"/>
              <a:gd name="connsiteX135" fmla="*/ 2076069 w 3867150"/>
              <a:gd name="connsiteY135" fmla="*/ 140779 h 428625"/>
              <a:gd name="connsiteX136" fmla="*/ 2105501 w 3867150"/>
              <a:gd name="connsiteY136" fmla="*/ 173546 h 428625"/>
              <a:gd name="connsiteX137" fmla="*/ 2105501 w 3867150"/>
              <a:gd name="connsiteY137" fmla="*/ 173546 h 428625"/>
              <a:gd name="connsiteX138" fmla="*/ 2183035 w 3867150"/>
              <a:gd name="connsiteY138" fmla="*/ 90773 h 428625"/>
              <a:gd name="connsiteX139" fmla="*/ 2125980 w 3867150"/>
              <a:gd name="connsiteY139" fmla="*/ 90773 h 428625"/>
              <a:gd name="connsiteX140" fmla="*/ 2121218 w 3867150"/>
              <a:gd name="connsiteY140" fmla="*/ 115919 h 428625"/>
              <a:gd name="connsiteX141" fmla="*/ 2065115 w 3867150"/>
              <a:gd name="connsiteY141" fmla="*/ 87821 h 428625"/>
              <a:gd name="connsiteX142" fmla="*/ 2001964 w 3867150"/>
              <a:gd name="connsiteY142" fmla="*/ 112490 h 428625"/>
              <a:gd name="connsiteX143" fmla="*/ 1964912 w 3867150"/>
              <a:gd name="connsiteY143" fmla="*/ 207550 h 428625"/>
              <a:gd name="connsiteX144" fmla="*/ 1958721 w 3867150"/>
              <a:gd name="connsiteY144" fmla="*/ 257937 h 428625"/>
              <a:gd name="connsiteX145" fmla="*/ 2027111 w 3867150"/>
              <a:gd name="connsiteY145" fmla="*/ 327755 h 428625"/>
              <a:gd name="connsiteX146" fmla="*/ 2082260 w 3867150"/>
              <a:gd name="connsiteY146" fmla="*/ 303086 h 428625"/>
              <a:gd name="connsiteX147" fmla="*/ 2077022 w 3867150"/>
              <a:gd name="connsiteY147" fmla="*/ 328231 h 428625"/>
              <a:gd name="connsiteX148" fmla="*/ 2016633 w 3867150"/>
              <a:gd name="connsiteY148" fmla="*/ 381953 h 428625"/>
              <a:gd name="connsiteX149" fmla="*/ 1975295 w 3867150"/>
              <a:gd name="connsiteY149" fmla="*/ 362426 h 428625"/>
              <a:gd name="connsiteX150" fmla="*/ 1934432 w 3867150"/>
              <a:gd name="connsiteY150" fmla="*/ 398050 h 428625"/>
              <a:gd name="connsiteX151" fmla="*/ 2016633 w 3867150"/>
              <a:gd name="connsiteY151" fmla="*/ 431768 h 428625"/>
              <a:gd name="connsiteX152" fmla="*/ 2135505 w 3867150"/>
              <a:gd name="connsiteY152" fmla="*/ 328613 h 428625"/>
              <a:gd name="connsiteX153" fmla="*/ 2183035 w 3867150"/>
              <a:gd name="connsiteY153" fmla="*/ 90773 h 428625"/>
              <a:gd name="connsiteX154" fmla="*/ 1924431 w 3867150"/>
              <a:gd name="connsiteY154" fmla="*/ 156305 h 428625"/>
              <a:gd name="connsiteX155" fmla="*/ 1861280 w 3867150"/>
              <a:gd name="connsiteY155" fmla="*/ 87916 h 428625"/>
              <a:gd name="connsiteX156" fmla="*/ 1796129 w 3867150"/>
              <a:gd name="connsiteY156" fmla="*/ 114490 h 428625"/>
              <a:gd name="connsiteX157" fmla="*/ 1800415 w 3867150"/>
              <a:gd name="connsiteY157" fmla="*/ 90773 h 428625"/>
              <a:gd name="connsiteX158" fmla="*/ 1743837 w 3867150"/>
              <a:gd name="connsiteY158" fmla="*/ 90773 h 428625"/>
              <a:gd name="connsiteX159" fmla="*/ 1694402 w 3867150"/>
              <a:gd name="connsiteY159" fmla="*/ 338328 h 428625"/>
              <a:gd name="connsiteX160" fmla="*/ 1753362 w 3867150"/>
              <a:gd name="connsiteY160" fmla="*/ 338328 h 428625"/>
              <a:gd name="connsiteX161" fmla="*/ 1783747 w 3867150"/>
              <a:gd name="connsiteY161" fmla="*/ 188119 h 428625"/>
              <a:gd name="connsiteX162" fmla="*/ 1834134 w 3867150"/>
              <a:gd name="connsiteY162" fmla="*/ 140589 h 428625"/>
              <a:gd name="connsiteX163" fmla="*/ 1863566 w 3867150"/>
              <a:gd name="connsiteY163" fmla="*/ 171450 h 428625"/>
              <a:gd name="connsiteX164" fmla="*/ 1861661 w 3867150"/>
              <a:gd name="connsiteY164" fmla="*/ 187642 h 428625"/>
              <a:gd name="connsiteX165" fmla="*/ 1831277 w 3867150"/>
              <a:gd name="connsiteY165" fmla="*/ 338328 h 428625"/>
              <a:gd name="connsiteX166" fmla="*/ 1890141 w 3867150"/>
              <a:gd name="connsiteY166" fmla="*/ 338328 h 428625"/>
              <a:gd name="connsiteX167" fmla="*/ 1921002 w 3867150"/>
              <a:gd name="connsiteY167" fmla="*/ 183832 h 428625"/>
              <a:gd name="connsiteX168" fmla="*/ 1924431 w 3867150"/>
              <a:gd name="connsiteY168" fmla="*/ 156305 h 428625"/>
              <a:gd name="connsiteX169" fmla="*/ 1702022 w 3867150"/>
              <a:gd name="connsiteY169" fmla="*/ 953 h 428625"/>
              <a:gd name="connsiteX170" fmla="*/ 1641157 w 3867150"/>
              <a:gd name="connsiteY170" fmla="*/ 953 h 428625"/>
              <a:gd name="connsiteX171" fmla="*/ 1631632 w 3867150"/>
              <a:gd name="connsiteY171" fmla="*/ 49816 h 428625"/>
              <a:gd name="connsiteX172" fmla="*/ 1692021 w 3867150"/>
              <a:gd name="connsiteY172" fmla="*/ 49816 h 428625"/>
              <a:gd name="connsiteX173" fmla="*/ 1702022 w 3867150"/>
              <a:gd name="connsiteY173" fmla="*/ 953 h 428625"/>
              <a:gd name="connsiteX174" fmla="*/ 1682115 w 3867150"/>
              <a:gd name="connsiteY174" fmla="*/ 98393 h 428625"/>
              <a:gd name="connsiteX175" fmla="*/ 1623155 w 3867150"/>
              <a:gd name="connsiteY175" fmla="*/ 98393 h 428625"/>
              <a:gd name="connsiteX176" fmla="*/ 1575149 w 3867150"/>
              <a:gd name="connsiteY176" fmla="*/ 338423 h 428625"/>
              <a:gd name="connsiteX177" fmla="*/ 1634109 w 3867150"/>
              <a:gd name="connsiteY177" fmla="*/ 338423 h 428625"/>
              <a:gd name="connsiteX178" fmla="*/ 1682115 w 3867150"/>
              <a:gd name="connsiteY178" fmla="*/ 98393 h 428625"/>
              <a:gd name="connsiteX179" fmla="*/ 1592199 w 3867150"/>
              <a:gd name="connsiteY179" fmla="*/ 111252 h 428625"/>
              <a:gd name="connsiteX180" fmla="*/ 1539431 w 3867150"/>
              <a:gd name="connsiteY180" fmla="*/ 88011 h 428625"/>
              <a:gd name="connsiteX181" fmla="*/ 1476661 w 3867150"/>
              <a:gd name="connsiteY181" fmla="*/ 115062 h 428625"/>
              <a:gd name="connsiteX182" fmla="*/ 1481900 w 3867150"/>
              <a:gd name="connsiteY182" fmla="*/ 90869 h 428625"/>
              <a:gd name="connsiteX183" fmla="*/ 1424845 w 3867150"/>
              <a:gd name="connsiteY183" fmla="*/ 90869 h 428625"/>
              <a:gd name="connsiteX184" fmla="*/ 1375410 w 3867150"/>
              <a:gd name="connsiteY184" fmla="*/ 338423 h 428625"/>
              <a:gd name="connsiteX185" fmla="*/ 1434370 w 3867150"/>
              <a:gd name="connsiteY185" fmla="*/ 338423 h 428625"/>
              <a:gd name="connsiteX186" fmla="*/ 1464278 w 3867150"/>
              <a:gd name="connsiteY186" fmla="*/ 188690 h 428625"/>
              <a:gd name="connsiteX187" fmla="*/ 1514189 w 3867150"/>
              <a:gd name="connsiteY187" fmla="*/ 141161 h 428625"/>
              <a:gd name="connsiteX188" fmla="*/ 1541240 w 3867150"/>
              <a:gd name="connsiteY188" fmla="*/ 156400 h 428625"/>
              <a:gd name="connsiteX189" fmla="*/ 1592199 w 3867150"/>
              <a:gd name="connsiteY189" fmla="*/ 111252 h 428625"/>
              <a:gd name="connsiteX190" fmla="*/ 1298067 w 3867150"/>
              <a:gd name="connsiteY190" fmla="*/ 176308 h 428625"/>
              <a:gd name="connsiteX191" fmla="*/ 1296638 w 3867150"/>
              <a:gd name="connsiteY191" fmla="*/ 192977 h 428625"/>
              <a:gd name="connsiteX192" fmla="*/ 1205770 w 3867150"/>
              <a:gd name="connsiteY192" fmla="*/ 192977 h 428625"/>
              <a:gd name="connsiteX193" fmla="*/ 1262825 w 3867150"/>
              <a:gd name="connsiteY193" fmla="*/ 136303 h 428625"/>
              <a:gd name="connsiteX194" fmla="*/ 1298067 w 3867150"/>
              <a:gd name="connsiteY194" fmla="*/ 176308 h 428625"/>
              <a:gd name="connsiteX195" fmla="*/ 1354074 w 3867150"/>
              <a:gd name="connsiteY195" fmla="*/ 176308 h 428625"/>
              <a:gd name="connsiteX196" fmla="*/ 1266158 w 3867150"/>
              <a:gd name="connsiteY196" fmla="*/ 87916 h 428625"/>
              <a:gd name="connsiteX197" fmla="*/ 1140238 w 3867150"/>
              <a:gd name="connsiteY197" fmla="*/ 254222 h 428625"/>
              <a:gd name="connsiteX198" fmla="*/ 1231964 w 3867150"/>
              <a:gd name="connsiteY198" fmla="*/ 341186 h 428625"/>
              <a:gd name="connsiteX199" fmla="*/ 1328452 w 3867150"/>
              <a:gd name="connsiteY199" fmla="*/ 305086 h 428625"/>
              <a:gd name="connsiteX200" fmla="*/ 1297591 w 3867150"/>
              <a:gd name="connsiteY200" fmla="*/ 266129 h 428625"/>
              <a:gd name="connsiteX201" fmla="*/ 1238631 w 3867150"/>
              <a:gd name="connsiteY201" fmla="*/ 291370 h 428625"/>
              <a:gd name="connsiteX202" fmla="*/ 1196340 w 3867150"/>
              <a:gd name="connsiteY202" fmla="*/ 249936 h 428625"/>
              <a:gd name="connsiteX203" fmla="*/ 1198245 w 3867150"/>
              <a:gd name="connsiteY203" fmla="*/ 232315 h 428625"/>
              <a:gd name="connsiteX204" fmla="*/ 1346549 w 3867150"/>
              <a:gd name="connsiteY204" fmla="*/ 232315 h 428625"/>
              <a:gd name="connsiteX205" fmla="*/ 1354074 w 3867150"/>
              <a:gd name="connsiteY205" fmla="*/ 176308 h 428625"/>
              <a:gd name="connsiteX206" fmla="*/ 1054227 w 3867150"/>
              <a:gd name="connsiteY206" fmla="*/ 176308 h 428625"/>
              <a:gd name="connsiteX207" fmla="*/ 1052798 w 3867150"/>
              <a:gd name="connsiteY207" fmla="*/ 192977 h 428625"/>
              <a:gd name="connsiteX208" fmla="*/ 961930 w 3867150"/>
              <a:gd name="connsiteY208" fmla="*/ 192977 h 428625"/>
              <a:gd name="connsiteX209" fmla="*/ 1018984 w 3867150"/>
              <a:gd name="connsiteY209" fmla="*/ 136303 h 428625"/>
              <a:gd name="connsiteX210" fmla="*/ 1054227 w 3867150"/>
              <a:gd name="connsiteY210" fmla="*/ 176308 h 428625"/>
              <a:gd name="connsiteX211" fmla="*/ 1110234 w 3867150"/>
              <a:gd name="connsiteY211" fmla="*/ 176308 h 428625"/>
              <a:gd name="connsiteX212" fmla="*/ 1022318 w 3867150"/>
              <a:gd name="connsiteY212" fmla="*/ 87916 h 428625"/>
              <a:gd name="connsiteX213" fmla="*/ 896398 w 3867150"/>
              <a:gd name="connsiteY213" fmla="*/ 254222 h 428625"/>
              <a:gd name="connsiteX214" fmla="*/ 988124 w 3867150"/>
              <a:gd name="connsiteY214" fmla="*/ 341186 h 428625"/>
              <a:gd name="connsiteX215" fmla="*/ 1084612 w 3867150"/>
              <a:gd name="connsiteY215" fmla="*/ 305086 h 428625"/>
              <a:gd name="connsiteX216" fmla="*/ 1053751 w 3867150"/>
              <a:gd name="connsiteY216" fmla="*/ 266129 h 428625"/>
              <a:gd name="connsiteX217" fmla="*/ 994791 w 3867150"/>
              <a:gd name="connsiteY217" fmla="*/ 291370 h 428625"/>
              <a:gd name="connsiteX218" fmla="*/ 952500 w 3867150"/>
              <a:gd name="connsiteY218" fmla="*/ 249936 h 428625"/>
              <a:gd name="connsiteX219" fmla="*/ 954405 w 3867150"/>
              <a:gd name="connsiteY219" fmla="*/ 232315 h 428625"/>
              <a:gd name="connsiteX220" fmla="*/ 1102709 w 3867150"/>
              <a:gd name="connsiteY220" fmla="*/ 232315 h 428625"/>
              <a:gd name="connsiteX221" fmla="*/ 1110234 w 3867150"/>
              <a:gd name="connsiteY221" fmla="*/ 176308 h 428625"/>
              <a:gd name="connsiteX222" fmla="*/ 863537 w 3867150"/>
              <a:gd name="connsiteY222" fmla="*/ 156305 h 428625"/>
              <a:gd name="connsiteX223" fmla="*/ 800386 w 3867150"/>
              <a:gd name="connsiteY223" fmla="*/ 87916 h 428625"/>
              <a:gd name="connsiteX224" fmla="*/ 735235 w 3867150"/>
              <a:gd name="connsiteY224" fmla="*/ 114490 h 428625"/>
              <a:gd name="connsiteX225" fmla="*/ 739521 w 3867150"/>
              <a:gd name="connsiteY225" fmla="*/ 90773 h 428625"/>
              <a:gd name="connsiteX226" fmla="*/ 682943 w 3867150"/>
              <a:gd name="connsiteY226" fmla="*/ 90773 h 428625"/>
              <a:gd name="connsiteX227" fmla="*/ 633508 w 3867150"/>
              <a:gd name="connsiteY227" fmla="*/ 338328 h 428625"/>
              <a:gd name="connsiteX228" fmla="*/ 692468 w 3867150"/>
              <a:gd name="connsiteY228" fmla="*/ 338328 h 428625"/>
              <a:gd name="connsiteX229" fmla="*/ 722852 w 3867150"/>
              <a:gd name="connsiteY229" fmla="*/ 188119 h 428625"/>
              <a:gd name="connsiteX230" fmla="*/ 773240 w 3867150"/>
              <a:gd name="connsiteY230" fmla="*/ 140589 h 428625"/>
              <a:gd name="connsiteX231" fmla="*/ 802672 w 3867150"/>
              <a:gd name="connsiteY231" fmla="*/ 171450 h 428625"/>
              <a:gd name="connsiteX232" fmla="*/ 800767 w 3867150"/>
              <a:gd name="connsiteY232" fmla="*/ 187642 h 428625"/>
              <a:gd name="connsiteX233" fmla="*/ 770382 w 3867150"/>
              <a:gd name="connsiteY233" fmla="*/ 338328 h 428625"/>
              <a:gd name="connsiteX234" fmla="*/ 829247 w 3867150"/>
              <a:gd name="connsiteY234" fmla="*/ 338328 h 428625"/>
              <a:gd name="connsiteX235" fmla="*/ 860108 w 3867150"/>
              <a:gd name="connsiteY235" fmla="*/ 183832 h 428625"/>
              <a:gd name="connsiteX236" fmla="*/ 863537 w 3867150"/>
              <a:gd name="connsiteY236" fmla="*/ 156305 h 428625"/>
              <a:gd name="connsiteX237" fmla="*/ 553688 w 3867150"/>
              <a:gd name="connsiteY237" fmla="*/ 176308 h 428625"/>
              <a:gd name="connsiteX238" fmla="*/ 548450 w 3867150"/>
              <a:gd name="connsiteY238" fmla="*/ 214313 h 428625"/>
              <a:gd name="connsiteX239" fmla="*/ 523208 w 3867150"/>
              <a:gd name="connsiteY239" fmla="*/ 276130 h 428625"/>
              <a:gd name="connsiteX240" fmla="*/ 492824 w 3867150"/>
              <a:gd name="connsiteY240" fmla="*/ 288512 h 428625"/>
              <a:gd name="connsiteX241" fmla="*/ 461391 w 3867150"/>
              <a:gd name="connsiteY241" fmla="*/ 252889 h 428625"/>
              <a:gd name="connsiteX242" fmla="*/ 466630 w 3867150"/>
              <a:gd name="connsiteY242" fmla="*/ 214408 h 428625"/>
              <a:gd name="connsiteX243" fmla="*/ 491871 w 3867150"/>
              <a:gd name="connsiteY243" fmla="*/ 153067 h 428625"/>
              <a:gd name="connsiteX244" fmla="*/ 522351 w 3867150"/>
              <a:gd name="connsiteY244" fmla="*/ 140684 h 428625"/>
              <a:gd name="connsiteX245" fmla="*/ 553688 w 3867150"/>
              <a:gd name="connsiteY245" fmla="*/ 176308 h 428625"/>
              <a:gd name="connsiteX246" fmla="*/ 612172 w 3867150"/>
              <a:gd name="connsiteY246" fmla="*/ 169640 h 428625"/>
              <a:gd name="connsiteX247" fmla="*/ 528542 w 3867150"/>
              <a:gd name="connsiteY247" fmla="*/ 87916 h 428625"/>
              <a:gd name="connsiteX248" fmla="*/ 452438 w 3867150"/>
              <a:gd name="connsiteY248" fmla="*/ 116396 h 428625"/>
              <a:gd name="connsiteX249" fmla="*/ 408242 w 3867150"/>
              <a:gd name="connsiteY249" fmla="*/ 214313 h 428625"/>
              <a:gd name="connsiteX250" fmla="*/ 403003 w 3867150"/>
              <a:gd name="connsiteY250" fmla="*/ 259461 h 428625"/>
              <a:gd name="connsiteX251" fmla="*/ 487109 w 3867150"/>
              <a:gd name="connsiteY251" fmla="*/ 341186 h 428625"/>
              <a:gd name="connsiteX252" fmla="*/ 563213 w 3867150"/>
              <a:gd name="connsiteY252" fmla="*/ 312706 h 428625"/>
              <a:gd name="connsiteX253" fmla="*/ 607409 w 3867150"/>
              <a:gd name="connsiteY253" fmla="*/ 214313 h 428625"/>
              <a:gd name="connsiteX254" fmla="*/ 612172 w 3867150"/>
              <a:gd name="connsiteY254" fmla="*/ 169640 h 428625"/>
              <a:gd name="connsiteX255" fmla="*/ 401098 w 3867150"/>
              <a:gd name="connsiteY255" fmla="*/ 953 h 428625"/>
              <a:gd name="connsiteX256" fmla="*/ 340233 w 3867150"/>
              <a:gd name="connsiteY256" fmla="*/ 953 h 428625"/>
              <a:gd name="connsiteX257" fmla="*/ 330708 w 3867150"/>
              <a:gd name="connsiteY257" fmla="*/ 49816 h 428625"/>
              <a:gd name="connsiteX258" fmla="*/ 391096 w 3867150"/>
              <a:gd name="connsiteY258" fmla="*/ 49816 h 428625"/>
              <a:gd name="connsiteX259" fmla="*/ 401098 w 3867150"/>
              <a:gd name="connsiteY259" fmla="*/ 953 h 428625"/>
              <a:gd name="connsiteX260" fmla="*/ 381191 w 3867150"/>
              <a:gd name="connsiteY260" fmla="*/ 98393 h 428625"/>
              <a:gd name="connsiteX261" fmla="*/ 322231 w 3867150"/>
              <a:gd name="connsiteY261" fmla="*/ 98393 h 428625"/>
              <a:gd name="connsiteX262" fmla="*/ 274225 w 3867150"/>
              <a:gd name="connsiteY262" fmla="*/ 338423 h 428625"/>
              <a:gd name="connsiteX263" fmla="*/ 333184 w 3867150"/>
              <a:gd name="connsiteY263" fmla="*/ 338423 h 428625"/>
              <a:gd name="connsiteX264" fmla="*/ 381191 w 3867150"/>
              <a:gd name="connsiteY264" fmla="*/ 98393 h 428625"/>
              <a:gd name="connsiteX265" fmla="*/ 215741 w 3867150"/>
              <a:gd name="connsiteY265" fmla="*/ 94583 h 428625"/>
              <a:gd name="connsiteX266" fmla="*/ 156305 w 3867150"/>
              <a:gd name="connsiteY266" fmla="*/ 151638 h 428625"/>
              <a:gd name="connsiteX267" fmla="*/ 100203 w 3867150"/>
              <a:gd name="connsiteY267" fmla="*/ 151638 h 428625"/>
              <a:gd name="connsiteX268" fmla="*/ 119729 w 3867150"/>
              <a:gd name="connsiteY268" fmla="*/ 55531 h 428625"/>
              <a:gd name="connsiteX269" fmla="*/ 177737 w 3867150"/>
              <a:gd name="connsiteY269" fmla="*/ 55531 h 428625"/>
              <a:gd name="connsiteX270" fmla="*/ 215741 w 3867150"/>
              <a:gd name="connsiteY270" fmla="*/ 94583 h 428625"/>
              <a:gd name="connsiteX271" fmla="*/ 278987 w 3867150"/>
              <a:gd name="connsiteY271" fmla="*/ 89345 h 428625"/>
              <a:gd name="connsiteX272" fmla="*/ 188214 w 3867150"/>
              <a:gd name="connsiteY272" fmla="*/ 0 h 428625"/>
              <a:gd name="connsiteX273" fmla="*/ 68008 w 3867150"/>
              <a:gd name="connsiteY273" fmla="*/ 0 h 428625"/>
              <a:gd name="connsiteX274" fmla="*/ 0 w 3867150"/>
              <a:gd name="connsiteY274" fmla="*/ 338328 h 428625"/>
              <a:gd name="connsiteX275" fmla="*/ 62770 w 3867150"/>
              <a:gd name="connsiteY275" fmla="*/ 338328 h 428625"/>
              <a:gd name="connsiteX276" fmla="*/ 88868 w 3867150"/>
              <a:gd name="connsiteY276" fmla="*/ 207169 h 428625"/>
              <a:gd name="connsiteX277" fmla="*/ 154019 w 3867150"/>
              <a:gd name="connsiteY277" fmla="*/ 207169 h 428625"/>
              <a:gd name="connsiteX278" fmla="*/ 278987 w 3867150"/>
              <a:gd name="connsiteY278" fmla="*/ 8934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3867150" h="428625">
                <a:moveTo>
                  <a:pt x="3869817" y="118300"/>
                </a:moveTo>
                <a:cubicBezTo>
                  <a:pt x="3848481" y="96488"/>
                  <a:pt x="3822764" y="87916"/>
                  <a:pt x="3787617" y="87916"/>
                </a:cubicBezTo>
                <a:cubicBezTo>
                  <a:pt x="3752374" y="87916"/>
                  <a:pt x="3723894" y="97917"/>
                  <a:pt x="3705416" y="116396"/>
                </a:cubicBezTo>
                <a:cubicBezTo>
                  <a:pt x="3688842" y="132969"/>
                  <a:pt x="3680270" y="155353"/>
                  <a:pt x="3680270" y="178213"/>
                </a:cubicBezTo>
                <a:cubicBezTo>
                  <a:pt x="3680270" y="201549"/>
                  <a:pt x="3694462" y="226695"/>
                  <a:pt x="3739610" y="234315"/>
                </a:cubicBezTo>
                <a:lnTo>
                  <a:pt x="3771995" y="239554"/>
                </a:lnTo>
                <a:cubicBezTo>
                  <a:pt x="3786283" y="241935"/>
                  <a:pt x="3795332" y="246697"/>
                  <a:pt x="3795332" y="260032"/>
                </a:cubicBezTo>
                <a:cubicBezTo>
                  <a:pt x="3795332" y="274796"/>
                  <a:pt x="3778663" y="290894"/>
                  <a:pt x="3744944" y="290894"/>
                </a:cubicBezTo>
                <a:cubicBezTo>
                  <a:pt x="3716941" y="290894"/>
                  <a:pt x="3700272" y="281369"/>
                  <a:pt x="3687985" y="267081"/>
                </a:cubicBezTo>
                <a:lnTo>
                  <a:pt x="3645694" y="304133"/>
                </a:lnTo>
                <a:cubicBezTo>
                  <a:pt x="3667601" y="327850"/>
                  <a:pt x="3697034" y="341186"/>
                  <a:pt x="3741135" y="341186"/>
                </a:cubicBezTo>
                <a:cubicBezTo>
                  <a:pt x="3773043" y="341186"/>
                  <a:pt x="3807238" y="333565"/>
                  <a:pt x="3827145" y="314134"/>
                </a:cubicBezTo>
                <a:cubicBezTo>
                  <a:pt x="3843338" y="298513"/>
                  <a:pt x="3853720" y="278987"/>
                  <a:pt x="3853720" y="254222"/>
                </a:cubicBezTo>
                <a:cubicBezTo>
                  <a:pt x="3853720" y="220028"/>
                  <a:pt x="3838004" y="197167"/>
                  <a:pt x="3793903" y="190024"/>
                </a:cubicBezTo>
                <a:lnTo>
                  <a:pt x="3761994" y="184785"/>
                </a:lnTo>
                <a:cubicBezTo>
                  <a:pt x="3746754" y="182404"/>
                  <a:pt x="3739134" y="176689"/>
                  <a:pt x="3739134" y="166211"/>
                </a:cubicBezTo>
                <a:cubicBezTo>
                  <a:pt x="3739134" y="150971"/>
                  <a:pt x="3752469" y="136303"/>
                  <a:pt x="3782377" y="136303"/>
                </a:cubicBezTo>
                <a:cubicBezTo>
                  <a:pt x="3799999" y="136303"/>
                  <a:pt x="3818001" y="142018"/>
                  <a:pt x="3829431" y="153924"/>
                </a:cubicBezTo>
                <a:lnTo>
                  <a:pt x="3869817" y="118300"/>
                </a:lnTo>
                <a:close/>
                <a:moveTo>
                  <a:pt x="3661220" y="122111"/>
                </a:moveTo>
                <a:cubicBezTo>
                  <a:pt x="3646456" y="103156"/>
                  <a:pt x="3624644" y="87916"/>
                  <a:pt x="3588544" y="87916"/>
                </a:cubicBezTo>
                <a:cubicBezTo>
                  <a:pt x="3538157" y="87916"/>
                  <a:pt x="3481197" y="113538"/>
                  <a:pt x="3462623" y="214313"/>
                </a:cubicBezTo>
                <a:cubicBezTo>
                  <a:pt x="3460242" y="227171"/>
                  <a:pt x="3458813" y="240982"/>
                  <a:pt x="3458813" y="252794"/>
                </a:cubicBezTo>
                <a:cubicBezTo>
                  <a:pt x="3458813" y="311277"/>
                  <a:pt x="3500628" y="341186"/>
                  <a:pt x="3547586" y="341186"/>
                </a:cubicBezTo>
                <a:cubicBezTo>
                  <a:pt x="3579400" y="341186"/>
                  <a:pt x="3608451" y="329279"/>
                  <a:pt x="3629311" y="309848"/>
                </a:cubicBezTo>
                <a:lnTo>
                  <a:pt x="3596545" y="267557"/>
                </a:lnTo>
                <a:cubicBezTo>
                  <a:pt x="3582734" y="281369"/>
                  <a:pt x="3569875" y="288512"/>
                  <a:pt x="3553301" y="288512"/>
                </a:cubicBezTo>
                <a:cubicBezTo>
                  <a:pt x="3530441" y="288512"/>
                  <a:pt x="3518154" y="272320"/>
                  <a:pt x="3518154" y="246221"/>
                </a:cubicBezTo>
                <a:cubicBezTo>
                  <a:pt x="3518154" y="234791"/>
                  <a:pt x="3519583" y="225266"/>
                  <a:pt x="3521488" y="214313"/>
                </a:cubicBezTo>
                <a:cubicBezTo>
                  <a:pt x="3525774" y="190976"/>
                  <a:pt x="3534823" y="169640"/>
                  <a:pt x="3547586" y="156305"/>
                </a:cubicBezTo>
                <a:cubicBezTo>
                  <a:pt x="3558064" y="145352"/>
                  <a:pt x="3569970" y="140589"/>
                  <a:pt x="3582734" y="140589"/>
                </a:cubicBezTo>
                <a:cubicBezTo>
                  <a:pt x="3597497" y="140589"/>
                  <a:pt x="3607499" y="148209"/>
                  <a:pt x="3616928" y="161068"/>
                </a:cubicBezTo>
                <a:lnTo>
                  <a:pt x="3661220" y="122111"/>
                </a:lnTo>
                <a:close/>
                <a:moveTo>
                  <a:pt x="3456813" y="953"/>
                </a:moveTo>
                <a:lnTo>
                  <a:pt x="3395948" y="953"/>
                </a:lnTo>
                <a:lnTo>
                  <a:pt x="3386423" y="49816"/>
                </a:lnTo>
                <a:lnTo>
                  <a:pt x="3446812" y="49816"/>
                </a:lnTo>
                <a:lnTo>
                  <a:pt x="3456813" y="953"/>
                </a:lnTo>
                <a:close/>
                <a:moveTo>
                  <a:pt x="3436906" y="98393"/>
                </a:moveTo>
                <a:lnTo>
                  <a:pt x="3377946" y="98393"/>
                </a:lnTo>
                <a:lnTo>
                  <a:pt x="3329940" y="338423"/>
                </a:lnTo>
                <a:lnTo>
                  <a:pt x="3388900" y="338423"/>
                </a:lnTo>
                <a:lnTo>
                  <a:pt x="3436906" y="98393"/>
                </a:lnTo>
                <a:close/>
                <a:moveTo>
                  <a:pt x="3328035" y="98393"/>
                </a:moveTo>
                <a:lnTo>
                  <a:pt x="3287173" y="98393"/>
                </a:lnTo>
                <a:lnTo>
                  <a:pt x="3301937" y="24289"/>
                </a:lnTo>
                <a:lnTo>
                  <a:pt x="3242977" y="24289"/>
                </a:lnTo>
                <a:lnTo>
                  <a:pt x="3228213" y="98393"/>
                </a:lnTo>
                <a:lnTo>
                  <a:pt x="3203067" y="98393"/>
                </a:lnTo>
                <a:lnTo>
                  <a:pt x="3194019" y="142970"/>
                </a:lnTo>
                <a:lnTo>
                  <a:pt x="3219164" y="142970"/>
                </a:lnTo>
                <a:lnTo>
                  <a:pt x="3194971" y="264223"/>
                </a:lnTo>
                <a:cubicBezTo>
                  <a:pt x="3194019" y="269462"/>
                  <a:pt x="3193066" y="276130"/>
                  <a:pt x="3193066" y="284702"/>
                </a:cubicBezTo>
                <a:cubicBezTo>
                  <a:pt x="3193066" y="318421"/>
                  <a:pt x="3218688" y="338328"/>
                  <a:pt x="3252883" y="338328"/>
                </a:cubicBezTo>
                <a:lnTo>
                  <a:pt x="3283268" y="338328"/>
                </a:lnTo>
                <a:lnTo>
                  <a:pt x="3293269" y="288988"/>
                </a:lnTo>
                <a:lnTo>
                  <a:pt x="3271933" y="288988"/>
                </a:lnTo>
                <a:cubicBezTo>
                  <a:pt x="3259074" y="288988"/>
                  <a:pt x="3252883" y="283750"/>
                  <a:pt x="3252883" y="273748"/>
                </a:cubicBezTo>
                <a:cubicBezTo>
                  <a:pt x="3252883" y="271367"/>
                  <a:pt x="3252883" y="269462"/>
                  <a:pt x="3253836" y="264700"/>
                </a:cubicBezTo>
                <a:lnTo>
                  <a:pt x="3278029" y="142970"/>
                </a:lnTo>
                <a:lnTo>
                  <a:pt x="3318891" y="142970"/>
                </a:lnTo>
                <a:lnTo>
                  <a:pt x="3328035" y="98393"/>
                </a:lnTo>
                <a:close/>
                <a:moveTo>
                  <a:pt x="3163062" y="118300"/>
                </a:moveTo>
                <a:cubicBezTo>
                  <a:pt x="3141726" y="96488"/>
                  <a:pt x="3116009" y="87916"/>
                  <a:pt x="3080861" y="87916"/>
                </a:cubicBezTo>
                <a:cubicBezTo>
                  <a:pt x="3045619" y="87916"/>
                  <a:pt x="3017139" y="97917"/>
                  <a:pt x="2998565" y="116396"/>
                </a:cubicBezTo>
                <a:cubicBezTo>
                  <a:pt x="2981992" y="132969"/>
                  <a:pt x="2973420" y="155353"/>
                  <a:pt x="2973420" y="178213"/>
                </a:cubicBezTo>
                <a:cubicBezTo>
                  <a:pt x="2973420" y="201549"/>
                  <a:pt x="2987707" y="226695"/>
                  <a:pt x="3032760" y="234315"/>
                </a:cubicBezTo>
                <a:lnTo>
                  <a:pt x="3065145" y="239554"/>
                </a:lnTo>
                <a:cubicBezTo>
                  <a:pt x="3079433" y="241935"/>
                  <a:pt x="3088481" y="246697"/>
                  <a:pt x="3088481" y="260032"/>
                </a:cubicBezTo>
                <a:cubicBezTo>
                  <a:pt x="3088481" y="274796"/>
                  <a:pt x="3071813" y="290894"/>
                  <a:pt x="3037999" y="290894"/>
                </a:cubicBezTo>
                <a:cubicBezTo>
                  <a:pt x="3009995" y="290894"/>
                  <a:pt x="2993327" y="281369"/>
                  <a:pt x="2981039" y="267081"/>
                </a:cubicBezTo>
                <a:lnTo>
                  <a:pt x="2938748" y="304133"/>
                </a:lnTo>
                <a:cubicBezTo>
                  <a:pt x="2960656" y="327850"/>
                  <a:pt x="2990088" y="341186"/>
                  <a:pt x="3034189" y="341186"/>
                </a:cubicBezTo>
                <a:cubicBezTo>
                  <a:pt x="3066098" y="341186"/>
                  <a:pt x="3100292" y="333565"/>
                  <a:pt x="3120295" y="314134"/>
                </a:cubicBezTo>
                <a:cubicBezTo>
                  <a:pt x="3136392" y="298513"/>
                  <a:pt x="3146870" y="278987"/>
                  <a:pt x="3146870" y="254222"/>
                </a:cubicBezTo>
                <a:cubicBezTo>
                  <a:pt x="3146870" y="220028"/>
                  <a:pt x="3131153" y="197167"/>
                  <a:pt x="3087053" y="190024"/>
                </a:cubicBezTo>
                <a:lnTo>
                  <a:pt x="3055144" y="184785"/>
                </a:lnTo>
                <a:cubicBezTo>
                  <a:pt x="3039904" y="182404"/>
                  <a:pt x="3032284" y="176689"/>
                  <a:pt x="3032284" y="166211"/>
                </a:cubicBezTo>
                <a:cubicBezTo>
                  <a:pt x="3032284" y="150971"/>
                  <a:pt x="3045619" y="136303"/>
                  <a:pt x="3075623" y="136303"/>
                </a:cubicBezTo>
                <a:cubicBezTo>
                  <a:pt x="3093244" y="136303"/>
                  <a:pt x="3111246" y="142018"/>
                  <a:pt x="3122676" y="153924"/>
                </a:cubicBezTo>
                <a:lnTo>
                  <a:pt x="3163062" y="118300"/>
                </a:lnTo>
                <a:close/>
                <a:moveTo>
                  <a:pt x="2858453" y="231934"/>
                </a:moveTo>
                <a:lnTo>
                  <a:pt x="2855595" y="246697"/>
                </a:lnTo>
                <a:cubicBezTo>
                  <a:pt x="2853214" y="259080"/>
                  <a:pt x="2848451" y="270415"/>
                  <a:pt x="2840831" y="278035"/>
                </a:cubicBezTo>
                <a:cubicBezTo>
                  <a:pt x="2831783" y="287083"/>
                  <a:pt x="2818448" y="293275"/>
                  <a:pt x="2802350" y="293275"/>
                </a:cubicBezTo>
                <a:cubicBezTo>
                  <a:pt x="2780919" y="293275"/>
                  <a:pt x="2770918" y="283750"/>
                  <a:pt x="2770918" y="269938"/>
                </a:cubicBezTo>
                <a:cubicBezTo>
                  <a:pt x="2770918" y="248031"/>
                  <a:pt x="2786634" y="231838"/>
                  <a:pt x="2813209" y="231838"/>
                </a:cubicBezTo>
                <a:lnTo>
                  <a:pt x="2858453" y="231838"/>
                </a:lnTo>
                <a:close/>
                <a:moveTo>
                  <a:pt x="2930652" y="156877"/>
                </a:moveTo>
                <a:cubicBezTo>
                  <a:pt x="2930652" y="104108"/>
                  <a:pt x="2884075" y="88011"/>
                  <a:pt x="2842736" y="88011"/>
                </a:cubicBezTo>
                <a:cubicBezTo>
                  <a:pt x="2796636" y="88011"/>
                  <a:pt x="2770918" y="100870"/>
                  <a:pt x="2751011" y="121253"/>
                </a:cubicBezTo>
                <a:lnTo>
                  <a:pt x="2781395" y="160687"/>
                </a:lnTo>
                <a:cubicBezTo>
                  <a:pt x="2793778" y="146875"/>
                  <a:pt x="2810447" y="137350"/>
                  <a:pt x="2834640" y="137350"/>
                </a:cubicBezTo>
                <a:cubicBezTo>
                  <a:pt x="2859405" y="137350"/>
                  <a:pt x="2871311" y="147352"/>
                  <a:pt x="2871311" y="164021"/>
                </a:cubicBezTo>
                <a:cubicBezTo>
                  <a:pt x="2871311" y="168783"/>
                  <a:pt x="2870835" y="172117"/>
                  <a:pt x="2869883" y="176879"/>
                </a:cubicBezTo>
                <a:lnTo>
                  <a:pt x="2866549" y="191643"/>
                </a:lnTo>
                <a:lnTo>
                  <a:pt x="2807589" y="191643"/>
                </a:lnTo>
                <a:cubicBezTo>
                  <a:pt x="2779014" y="191643"/>
                  <a:pt x="2753868" y="199263"/>
                  <a:pt x="2735390" y="217265"/>
                </a:cubicBezTo>
                <a:cubicBezTo>
                  <a:pt x="2721102" y="231457"/>
                  <a:pt x="2713101" y="251460"/>
                  <a:pt x="2713101" y="275749"/>
                </a:cubicBezTo>
                <a:cubicBezTo>
                  <a:pt x="2713101" y="313277"/>
                  <a:pt x="2740628" y="340805"/>
                  <a:pt x="2783872" y="340805"/>
                </a:cubicBezTo>
                <a:cubicBezTo>
                  <a:pt x="2811018" y="340805"/>
                  <a:pt x="2829973" y="330327"/>
                  <a:pt x="2843784" y="316611"/>
                </a:cubicBezTo>
                <a:lnTo>
                  <a:pt x="2839498" y="338423"/>
                </a:lnTo>
                <a:lnTo>
                  <a:pt x="2896076" y="338423"/>
                </a:lnTo>
                <a:lnTo>
                  <a:pt x="2928366" y="178784"/>
                </a:lnTo>
                <a:cubicBezTo>
                  <a:pt x="2929700" y="172021"/>
                  <a:pt x="2930652" y="163544"/>
                  <a:pt x="2930652" y="156877"/>
                </a:cubicBezTo>
                <a:moveTo>
                  <a:pt x="2697766" y="0"/>
                </a:moveTo>
                <a:lnTo>
                  <a:pt x="2638806" y="0"/>
                </a:lnTo>
                <a:lnTo>
                  <a:pt x="2586133" y="264223"/>
                </a:lnTo>
                <a:cubicBezTo>
                  <a:pt x="2584704" y="270891"/>
                  <a:pt x="2584228" y="277082"/>
                  <a:pt x="2584228" y="284702"/>
                </a:cubicBezTo>
                <a:cubicBezTo>
                  <a:pt x="2584228" y="318421"/>
                  <a:pt x="2609374" y="338328"/>
                  <a:pt x="2643569" y="338328"/>
                </a:cubicBezTo>
                <a:lnTo>
                  <a:pt x="2675858" y="338328"/>
                </a:lnTo>
                <a:lnTo>
                  <a:pt x="2685860" y="288512"/>
                </a:lnTo>
                <a:lnTo>
                  <a:pt x="2661666" y="288512"/>
                </a:lnTo>
                <a:cubicBezTo>
                  <a:pt x="2648807" y="288512"/>
                  <a:pt x="2643569" y="283273"/>
                  <a:pt x="2643569" y="274225"/>
                </a:cubicBezTo>
                <a:cubicBezTo>
                  <a:pt x="2643569" y="270415"/>
                  <a:pt x="2644045" y="268033"/>
                  <a:pt x="2644997" y="263747"/>
                </a:cubicBezTo>
                <a:lnTo>
                  <a:pt x="2697766" y="0"/>
                </a:lnTo>
                <a:close/>
                <a:moveTo>
                  <a:pt x="2514791" y="94583"/>
                </a:moveTo>
                <a:cubicBezTo>
                  <a:pt x="2514791" y="120301"/>
                  <a:pt x="2496217" y="151638"/>
                  <a:pt x="2455355" y="151638"/>
                </a:cubicBezTo>
                <a:lnTo>
                  <a:pt x="2399253" y="151638"/>
                </a:lnTo>
                <a:lnTo>
                  <a:pt x="2418779" y="55531"/>
                </a:lnTo>
                <a:lnTo>
                  <a:pt x="2476786" y="55531"/>
                </a:lnTo>
                <a:cubicBezTo>
                  <a:pt x="2504885" y="55531"/>
                  <a:pt x="2514791" y="73152"/>
                  <a:pt x="2514791" y="94583"/>
                </a:cubicBezTo>
                <a:moveTo>
                  <a:pt x="2578037" y="89345"/>
                </a:moveTo>
                <a:cubicBezTo>
                  <a:pt x="2578037" y="36576"/>
                  <a:pt x="2544795" y="0"/>
                  <a:pt x="2487359" y="0"/>
                </a:cubicBezTo>
                <a:lnTo>
                  <a:pt x="2367058" y="0"/>
                </a:lnTo>
                <a:lnTo>
                  <a:pt x="2299049" y="338328"/>
                </a:lnTo>
                <a:lnTo>
                  <a:pt x="2361819" y="338328"/>
                </a:lnTo>
                <a:lnTo>
                  <a:pt x="2387918" y="207169"/>
                </a:lnTo>
                <a:lnTo>
                  <a:pt x="2453069" y="207169"/>
                </a:lnTo>
                <a:cubicBezTo>
                  <a:pt x="2534317" y="207169"/>
                  <a:pt x="2578037" y="149733"/>
                  <a:pt x="2578037" y="89345"/>
                </a:cubicBezTo>
                <a:moveTo>
                  <a:pt x="2105501" y="173546"/>
                </a:moveTo>
                <a:cubicBezTo>
                  <a:pt x="2105501" y="181165"/>
                  <a:pt x="2104073" y="192596"/>
                  <a:pt x="2101215" y="207740"/>
                </a:cubicBezTo>
                <a:cubicBezTo>
                  <a:pt x="2092643" y="252413"/>
                  <a:pt x="2079307" y="275272"/>
                  <a:pt x="2048923" y="275272"/>
                </a:cubicBezTo>
                <a:cubicBezTo>
                  <a:pt x="2027111" y="275272"/>
                  <a:pt x="2019490" y="260985"/>
                  <a:pt x="2019490" y="242506"/>
                </a:cubicBezTo>
                <a:cubicBezTo>
                  <a:pt x="2019490" y="234887"/>
                  <a:pt x="2020919" y="223456"/>
                  <a:pt x="2023777" y="208312"/>
                </a:cubicBezTo>
                <a:cubicBezTo>
                  <a:pt x="2032349" y="163639"/>
                  <a:pt x="2045589" y="140779"/>
                  <a:pt x="2076069" y="140779"/>
                </a:cubicBezTo>
                <a:cubicBezTo>
                  <a:pt x="2096072" y="140684"/>
                  <a:pt x="2105501" y="152971"/>
                  <a:pt x="2105501" y="173546"/>
                </a:cubicBezTo>
                <a:lnTo>
                  <a:pt x="2105501" y="173546"/>
                </a:lnTo>
                <a:close/>
                <a:moveTo>
                  <a:pt x="2183035" y="90773"/>
                </a:moveTo>
                <a:lnTo>
                  <a:pt x="2125980" y="90773"/>
                </a:lnTo>
                <a:lnTo>
                  <a:pt x="2121218" y="115919"/>
                </a:lnTo>
                <a:cubicBezTo>
                  <a:pt x="2109788" y="97346"/>
                  <a:pt x="2090833" y="87821"/>
                  <a:pt x="2065115" y="87821"/>
                </a:cubicBezTo>
                <a:cubicBezTo>
                  <a:pt x="2042827" y="87821"/>
                  <a:pt x="2020443" y="94012"/>
                  <a:pt x="2001964" y="112490"/>
                </a:cubicBezTo>
                <a:cubicBezTo>
                  <a:pt x="1983010" y="131445"/>
                  <a:pt x="1973485" y="160020"/>
                  <a:pt x="1964912" y="207550"/>
                </a:cubicBezTo>
                <a:cubicBezTo>
                  <a:pt x="1961102" y="228505"/>
                  <a:pt x="1958721" y="246031"/>
                  <a:pt x="1958721" y="257937"/>
                </a:cubicBezTo>
                <a:cubicBezTo>
                  <a:pt x="1958721" y="304514"/>
                  <a:pt x="1990535" y="327755"/>
                  <a:pt x="2027111" y="327755"/>
                </a:cubicBezTo>
                <a:cubicBezTo>
                  <a:pt x="2051876" y="327755"/>
                  <a:pt x="2069402" y="318230"/>
                  <a:pt x="2082260" y="303086"/>
                </a:cubicBezTo>
                <a:lnTo>
                  <a:pt x="2077022" y="328231"/>
                </a:lnTo>
                <a:cubicBezTo>
                  <a:pt x="2070354" y="360140"/>
                  <a:pt x="2049494" y="381953"/>
                  <a:pt x="2016633" y="381953"/>
                </a:cubicBezTo>
                <a:cubicBezTo>
                  <a:pt x="1993392" y="381953"/>
                  <a:pt x="1982914" y="370999"/>
                  <a:pt x="1975295" y="362426"/>
                </a:cubicBezTo>
                <a:lnTo>
                  <a:pt x="1934432" y="398050"/>
                </a:lnTo>
                <a:cubicBezTo>
                  <a:pt x="1955387" y="421767"/>
                  <a:pt x="1980533" y="431768"/>
                  <a:pt x="2016633" y="431768"/>
                </a:cubicBezTo>
                <a:cubicBezTo>
                  <a:pt x="2073688" y="431768"/>
                  <a:pt x="2121218" y="400907"/>
                  <a:pt x="2135505" y="328613"/>
                </a:cubicBezTo>
                <a:lnTo>
                  <a:pt x="2183035" y="90773"/>
                </a:lnTo>
                <a:close/>
                <a:moveTo>
                  <a:pt x="1924431" y="156305"/>
                </a:moveTo>
                <a:cubicBezTo>
                  <a:pt x="1924431" y="107347"/>
                  <a:pt x="1890236" y="87916"/>
                  <a:pt x="1861280" y="87916"/>
                </a:cubicBezTo>
                <a:cubicBezTo>
                  <a:pt x="1835563" y="87916"/>
                  <a:pt x="1811846" y="97441"/>
                  <a:pt x="1796129" y="114490"/>
                </a:cubicBezTo>
                <a:lnTo>
                  <a:pt x="1800415" y="90773"/>
                </a:lnTo>
                <a:lnTo>
                  <a:pt x="1743837" y="90773"/>
                </a:lnTo>
                <a:lnTo>
                  <a:pt x="1694402" y="338328"/>
                </a:lnTo>
                <a:lnTo>
                  <a:pt x="1753362" y="338328"/>
                </a:lnTo>
                <a:lnTo>
                  <a:pt x="1783747" y="188119"/>
                </a:lnTo>
                <a:cubicBezTo>
                  <a:pt x="1791367" y="149066"/>
                  <a:pt x="1816989" y="140589"/>
                  <a:pt x="1834134" y="140589"/>
                </a:cubicBezTo>
                <a:cubicBezTo>
                  <a:pt x="1849374" y="140589"/>
                  <a:pt x="1863566" y="150114"/>
                  <a:pt x="1863566" y="171450"/>
                </a:cubicBezTo>
                <a:cubicBezTo>
                  <a:pt x="1863566" y="176213"/>
                  <a:pt x="1862614" y="181928"/>
                  <a:pt x="1861661" y="187642"/>
                </a:cubicBezTo>
                <a:lnTo>
                  <a:pt x="1831277" y="338328"/>
                </a:lnTo>
                <a:lnTo>
                  <a:pt x="1890141" y="338328"/>
                </a:lnTo>
                <a:lnTo>
                  <a:pt x="1921002" y="183832"/>
                </a:lnTo>
                <a:cubicBezTo>
                  <a:pt x="1923002" y="175831"/>
                  <a:pt x="1924431" y="165354"/>
                  <a:pt x="1924431" y="156305"/>
                </a:cubicBezTo>
                <a:moveTo>
                  <a:pt x="1702022" y="953"/>
                </a:moveTo>
                <a:lnTo>
                  <a:pt x="1641157" y="953"/>
                </a:lnTo>
                <a:lnTo>
                  <a:pt x="1631632" y="49816"/>
                </a:lnTo>
                <a:lnTo>
                  <a:pt x="1692021" y="49816"/>
                </a:lnTo>
                <a:lnTo>
                  <a:pt x="1702022" y="953"/>
                </a:lnTo>
                <a:close/>
                <a:moveTo>
                  <a:pt x="1682115" y="98393"/>
                </a:moveTo>
                <a:lnTo>
                  <a:pt x="1623155" y="98393"/>
                </a:lnTo>
                <a:lnTo>
                  <a:pt x="1575149" y="338423"/>
                </a:lnTo>
                <a:lnTo>
                  <a:pt x="1634109" y="338423"/>
                </a:lnTo>
                <a:lnTo>
                  <a:pt x="1682115" y="98393"/>
                </a:lnTo>
                <a:close/>
                <a:moveTo>
                  <a:pt x="1592199" y="111252"/>
                </a:moveTo>
                <a:cubicBezTo>
                  <a:pt x="1578864" y="95536"/>
                  <a:pt x="1563243" y="88011"/>
                  <a:pt x="1539431" y="88011"/>
                </a:cubicBezTo>
                <a:cubicBezTo>
                  <a:pt x="1513713" y="88011"/>
                  <a:pt x="1490472" y="98488"/>
                  <a:pt x="1476661" y="115062"/>
                </a:cubicBezTo>
                <a:lnTo>
                  <a:pt x="1481900" y="90869"/>
                </a:lnTo>
                <a:lnTo>
                  <a:pt x="1424845" y="90869"/>
                </a:lnTo>
                <a:lnTo>
                  <a:pt x="1375410" y="338423"/>
                </a:lnTo>
                <a:lnTo>
                  <a:pt x="1434370" y="338423"/>
                </a:lnTo>
                <a:lnTo>
                  <a:pt x="1464278" y="188690"/>
                </a:lnTo>
                <a:cubicBezTo>
                  <a:pt x="1469993" y="160115"/>
                  <a:pt x="1490853" y="141161"/>
                  <a:pt x="1514189" y="141161"/>
                </a:cubicBezTo>
                <a:cubicBezTo>
                  <a:pt x="1527048" y="141161"/>
                  <a:pt x="1535144" y="148304"/>
                  <a:pt x="1541240" y="156400"/>
                </a:cubicBezTo>
                <a:lnTo>
                  <a:pt x="1592199" y="111252"/>
                </a:lnTo>
                <a:close/>
                <a:moveTo>
                  <a:pt x="1298067" y="176308"/>
                </a:moveTo>
                <a:cubicBezTo>
                  <a:pt x="1298067" y="181546"/>
                  <a:pt x="1297591" y="187738"/>
                  <a:pt x="1296638" y="192977"/>
                </a:cubicBezTo>
                <a:lnTo>
                  <a:pt x="1205770" y="192977"/>
                </a:lnTo>
                <a:cubicBezTo>
                  <a:pt x="1216724" y="152495"/>
                  <a:pt x="1237679" y="136303"/>
                  <a:pt x="1262825" y="136303"/>
                </a:cubicBezTo>
                <a:cubicBezTo>
                  <a:pt x="1283780" y="136398"/>
                  <a:pt x="1298067" y="150209"/>
                  <a:pt x="1298067" y="176308"/>
                </a:cubicBezTo>
                <a:moveTo>
                  <a:pt x="1354074" y="176308"/>
                </a:moveTo>
                <a:cubicBezTo>
                  <a:pt x="1354074" y="122587"/>
                  <a:pt x="1318451" y="87916"/>
                  <a:pt x="1266158" y="87916"/>
                </a:cubicBezTo>
                <a:cubicBezTo>
                  <a:pt x="1180529" y="87916"/>
                  <a:pt x="1140238" y="171069"/>
                  <a:pt x="1140238" y="254222"/>
                </a:cubicBezTo>
                <a:cubicBezTo>
                  <a:pt x="1140238" y="319373"/>
                  <a:pt x="1189101" y="341186"/>
                  <a:pt x="1231964" y="341186"/>
                </a:cubicBezTo>
                <a:cubicBezTo>
                  <a:pt x="1269111" y="341186"/>
                  <a:pt x="1302830" y="328803"/>
                  <a:pt x="1328452" y="305086"/>
                </a:cubicBezTo>
                <a:lnTo>
                  <a:pt x="1297591" y="266129"/>
                </a:lnTo>
                <a:cubicBezTo>
                  <a:pt x="1280446" y="282797"/>
                  <a:pt x="1262348" y="291370"/>
                  <a:pt x="1238631" y="291370"/>
                </a:cubicBezTo>
                <a:cubicBezTo>
                  <a:pt x="1210056" y="291370"/>
                  <a:pt x="1196340" y="274225"/>
                  <a:pt x="1196340" y="249936"/>
                </a:cubicBezTo>
                <a:cubicBezTo>
                  <a:pt x="1196340" y="244221"/>
                  <a:pt x="1197293" y="238030"/>
                  <a:pt x="1198245" y="232315"/>
                </a:cubicBezTo>
                <a:lnTo>
                  <a:pt x="1346549" y="232315"/>
                </a:lnTo>
                <a:cubicBezTo>
                  <a:pt x="1350740" y="213360"/>
                  <a:pt x="1354074" y="192977"/>
                  <a:pt x="1354074" y="176308"/>
                </a:cubicBezTo>
                <a:moveTo>
                  <a:pt x="1054227" y="176308"/>
                </a:moveTo>
                <a:cubicBezTo>
                  <a:pt x="1054227" y="181546"/>
                  <a:pt x="1053751" y="187738"/>
                  <a:pt x="1052798" y="192977"/>
                </a:cubicBezTo>
                <a:lnTo>
                  <a:pt x="961930" y="192977"/>
                </a:lnTo>
                <a:cubicBezTo>
                  <a:pt x="972884" y="152495"/>
                  <a:pt x="993838" y="136303"/>
                  <a:pt x="1018984" y="136303"/>
                </a:cubicBezTo>
                <a:cubicBezTo>
                  <a:pt x="1039940" y="136398"/>
                  <a:pt x="1054227" y="150209"/>
                  <a:pt x="1054227" y="176308"/>
                </a:cubicBezTo>
                <a:moveTo>
                  <a:pt x="1110234" y="176308"/>
                </a:moveTo>
                <a:cubicBezTo>
                  <a:pt x="1110234" y="122587"/>
                  <a:pt x="1074611" y="87916"/>
                  <a:pt x="1022318" y="87916"/>
                </a:cubicBezTo>
                <a:cubicBezTo>
                  <a:pt x="936688" y="87916"/>
                  <a:pt x="896398" y="171069"/>
                  <a:pt x="896398" y="254222"/>
                </a:cubicBezTo>
                <a:cubicBezTo>
                  <a:pt x="896398" y="319373"/>
                  <a:pt x="945261" y="341186"/>
                  <a:pt x="988124" y="341186"/>
                </a:cubicBezTo>
                <a:cubicBezTo>
                  <a:pt x="1025176" y="341186"/>
                  <a:pt x="1058990" y="328803"/>
                  <a:pt x="1084612" y="305086"/>
                </a:cubicBezTo>
                <a:lnTo>
                  <a:pt x="1053751" y="266129"/>
                </a:lnTo>
                <a:cubicBezTo>
                  <a:pt x="1036606" y="282797"/>
                  <a:pt x="1018604" y="291370"/>
                  <a:pt x="994791" y="291370"/>
                </a:cubicBezTo>
                <a:cubicBezTo>
                  <a:pt x="966216" y="291370"/>
                  <a:pt x="952500" y="274225"/>
                  <a:pt x="952500" y="249936"/>
                </a:cubicBezTo>
                <a:cubicBezTo>
                  <a:pt x="952500" y="244221"/>
                  <a:pt x="953453" y="238030"/>
                  <a:pt x="954405" y="232315"/>
                </a:cubicBezTo>
                <a:lnTo>
                  <a:pt x="1102709" y="232315"/>
                </a:lnTo>
                <a:cubicBezTo>
                  <a:pt x="1106900" y="213360"/>
                  <a:pt x="1110234" y="192977"/>
                  <a:pt x="1110234" y="176308"/>
                </a:cubicBezTo>
                <a:moveTo>
                  <a:pt x="863537" y="156305"/>
                </a:moveTo>
                <a:cubicBezTo>
                  <a:pt x="863537" y="107347"/>
                  <a:pt x="829342" y="87916"/>
                  <a:pt x="800386" y="87916"/>
                </a:cubicBezTo>
                <a:cubicBezTo>
                  <a:pt x="774763" y="87916"/>
                  <a:pt x="750951" y="97441"/>
                  <a:pt x="735235" y="114490"/>
                </a:cubicBezTo>
                <a:lnTo>
                  <a:pt x="739521" y="90773"/>
                </a:lnTo>
                <a:lnTo>
                  <a:pt x="682943" y="90773"/>
                </a:lnTo>
                <a:lnTo>
                  <a:pt x="633508" y="338328"/>
                </a:lnTo>
                <a:lnTo>
                  <a:pt x="692468" y="338328"/>
                </a:lnTo>
                <a:lnTo>
                  <a:pt x="722852" y="188119"/>
                </a:lnTo>
                <a:cubicBezTo>
                  <a:pt x="730472" y="149066"/>
                  <a:pt x="756095" y="140589"/>
                  <a:pt x="773240" y="140589"/>
                </a:cubicBezTo>
                <a:cubicBezTo>
                  <a:pt x="788480" y="140589"/>
                  <a:pt x="802672" y="150114"/>
                  <a:pt x="802672" y="171450"/>
                </a:cubicBezTo>
                <a:cubicBezTo>
                  <a:pt x="802672" y="176213"/>
                  <a:pt x="801719" y="181928"/>
                  <a:pt x="800767" y="187642"/>
                </a:cubicBezTo>
                <a:lnTo>
                  <a:pt x="770382" y="338328"/>
                </a:lnTo>
                <a:lnTo>
                  <a:pt x="829247" y="338328"/>
                </a:lnTo>
                <a:lnTo>
                  <a:pt x="860108" y="183832"/>
                </a:lnTo>
                <a:cubicBezTo>
                  <a:pt x="862108" y="175831"/>
                  <a:pt x="863537" y="165354"/>
                  <a:pt x="863537" y="156305"/>
                </a:cubicBezTo>
                <a:moveTo>
                  <a:pt x="553688" y="176308"/>
                </a:moveTo>
                <a:cubicBezTo>
                  <a:pt x="553688" y="181546"/>
                  <a:pt x="552736" y="193453"/>
                  <a:pt x="548450" y="214313"/>
                </a:cubicBezTo>
                <a:cubicBezTo>
                  <a:pt x="542734" y="245269"/>
                  <a:pt x="535115" y="264700"/>
                  <a:pt x="523208" y="276130"/>
                </a:cubicBezTo>
                <a:cubicBezTo>
                  <a:pt x="515588" y="283750"/>
                  <a:pt x="505111" y="288512"/>
                  <a:pt x="492824" y="288512"/>
                </a:cubicBezTo>
                <a:cubicBezTo>
                  <a:pt x="474250" y="288512"/>
                  <a:pt x="461391" y="276606"/>
                  <a:pt x="461391" y="252889"/>
                </a:cubicBezTo>
                <a:cubicBezTo>
                  <a:pt x="461391" y="247174"/>
                  <a:pt x="462344" y="235744"/>
                  <a:pt x="466630" y="214408"/>
                </a:cubicBezTo>
                <a:cubicBezTo>
                  <a:pt x="472821" y="184023"/>
                  <a:pt x="479965" y="164497"/>
                  <a:pt x="491871" y="153067"/>
                </a:cubicBezTo>
                <a:cubicBezTo>
                  <a:pt x="499491" y="145447"/>
                  <a:pt x="510445" y="140684"/>
                  <a:pt x="522351" y="140684"/>
                </a:cubicBezTo>
                <a:cubicBezTo>
                  <a:pt x="540925" y="140684"/>
                  <a:pt x="553688" y="152019"/>
                  <a:pt x="553688" y="176308"/>
                </a:cubicBezTo>
                <a:moveTo>
                  <a:pt x="612172" y="169640"/>
                </a:moveTo>
                <a:cubicBezTo>
                  <a:pt x="612172" y="112586"/>
                  <a:pt x="569881" y="87916"/>
                  <a:pt x="528542" y="87916"/>
                </a:cubicBezTo>
                <a:cubicBezTo>
                  <a:pt x="497110" y="87916"/>
                  <a:pt x="471011" y="98393"/>
                  <a:pt x="452438" y="116396"/>
                </a:cubicBezTo>
                <a:cubicBezTo>
                  <a:pt x="430625" y="137255"/>
                  <a:pt x="418719" y="162496"/>
                  <a:pt x="408242" y="214313"/>
                </a:cubicBezTo>
                <a:cubicBezTo>
                  <a:pt x="405860" y="225742"/>
                  <a:pt x="403003" y="244316"/>
                  <a:pt x="403003" y="259461"/>
                </a:cubicBezTo>
                <a:cubicBezTo>
                  <a:pt x="403003" y="316516"/>
                  <a:pt x="445294" y="341186"/>
                  <a:pt x="487109" y="341186"/>
                </a:cubicBezTo>
                <a:cubicBezTo>
                  <a:pt x="518541" y="341186"/>
                  <a:pt x="544163" y="330708"/>
                  <a:pt x="563213" y="312706"/>
                </a:cubicBezTo>
                <a:cubicBezTo>
                  <a:pt x="584549" y="291846"/>
                  <a:pt x="596932" y="266605"/>
                  <a:pt x="607409" y="214313"/>
                </a:cubicBezTo>
                <a:cubicBezTo>
                  <a:pt x="609314" y="203454"/>
                  <a:pt x="612172" y="184880"/>
                  <a:pt x="612172" y="169640"/>
                </a:cubicBezTo>
                <a:moveTo>
                  <a:pt x="401098" y="953"/>
                </a:moveTo>
                <a:lnTo>
                  <a:pt x="340233" y="953"/>
                </a:lnTo>
                <a:lnTo>
                  <a:pt x="330708" y="49816"/>
                </a:lnTo>
                <a:lnTo>
                  <a:pt x="391096" y="49816"/>
                </a:lnTo>
                <a:lnTo>
                  <a:pt x="401098" y="953"/>
                </a:lnTo>
                <a:close/>
                <a:moveTo>
                  <a:pt x="381191" y="98393"/>
                </a:moveTo>
                <a:lnTo>
                  <a:pt x="322231" y="98393"/>
                </a:lnTo>
                <a:lnTo>
                  <a:pt x="274225" y="338423"/>
                </a:lnTo>
                <a:lnTo>
                  <a:pt x="333184" y="338423"/>
                </a:lnTo>
                <a:lnTo>
                  <a:pt x="381191" y="98393"/>
                </a:lnTo>
                <a:close/>
                <a:moveTo>
                  <a:pt x="215741" y="94583"/>
                </a:moveTo>
                <a:cubicBezTo>
                  <a:pt x="215741" y="120301"/>
                  <a:pt x="197167" y="151638"/>
                  <a:pt x="156305" y="151638"/>
                </a:cubicBezTo>
                <a:lnTo>
                  <a:pt x="100203" y="151638"/>
                </a:lnTo>
                <a:lnTo>
                  <a:pt x="119729" y="55531"/>
                </a:lnTo>
                <a:lnTo>
                  <a:pt x="177737" y="55531"/>
                </a:lnTo>
                <a:cubicBezTo>
                  <a:pt x="205835" y="55531"/>
                  <a:pt x="215741" y="73152"/>
                  <a:pt x="215741" y="94583"/>
                </a:cubicBezTo>
                <a:moveTo>
                  <a:pt x="278987" y="89345"/>
                </a:moveTo>
                <a:cubicBezTo>
                  <a:pt x="278987" y="36576"/>
                  <a:pt x="245745" y="0"/>
                  <a:pt x="188214" y="0"/>
                </a:cubicBezTo>
                <a:lnTo>
                  <a:pt x="68008" y="0"/>
                </a:lnTo>
                <a:lnTo>
                  <a:pt x="0" y="338328"/>
                </a:lnTo>
                <a:lnTo>
                  <a:pt x="62770" y="338328"/>
                </a:lnTo>
                <a:lnTo>
                  <a:pt x="88868" y="207169"/>
                </a:lnTo>
                <a:lnTo>
                  <a:pt x="154019" y="207169"/>
                </a:lnTo>
                <a:cubicBezTo>
                  <a:pt x="235267" y="207169"/>
                  <a:pt x="278987" y="149733"/>
                  <a:pt x="278987" y="89345"/>
                </a:cubicBezTo>
              </a:path>
            </a:pathLst>
          </a:custGeom>
          <a:solidFill>
            <a:srgbClr val="FF83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grpSp>
        <p:nvGrpSpPr>
          <p:cNvPr id="23" name="Gruppieren 22">
            <a:extLst>
              <a:ext uri="{FF2B5EF4-FFF2-40B4-BE49-F238E27FC236}">
                <a16:creationId xmlns:a16="http://schemas.microsoft.com/office/drawing/2014/main" id="{EC5E513C-AD75-4EC5-99C1-FF6138790A39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24" name="Linientext 05,60">
              <a:extLst>
                <a:ext uri="{FF2B5EF4-FFF2-40B4-BE49-F238E27FC236}">
                  <a16:creationId xmlns:a16="http://schemas.microsoft.com/office/drawing/2014/main" id="{84AA7394-25A2-4081-BE0F-40222111C201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5" name="Hilfslinie 12,10">
              <a:extLst>
                <a:ext uri="{FF2B5EF4-FFF2-40B4-BE49-F238E27FC236}">
                  <a16:creationId xmlns:a16="http://schemas.microsoft.com/office/drawing/2014/main" id="{C51E9F9D-E574-4463-80EC-A49840168E56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Linientext 12,10">
              <a:extLst>
                <a:ext uri="{FF2B5EF4-FFF2-40B4-BE49-F238E27FC236}">
                  <a16:creationId xmlns:a16="http://schemas.microsoft.com/office/drawing/2014/main" id="{88A1C206-CE5E-4237-8A32-1391141C8FAA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41" name="Linientext 13,95">
              <a:extLst>
                <a:ext uri="{FF2B5EF4-FFF2-40B4-BE49-F238E27FC236}">
                  <a16:creationId xmlns:a16="http://schemas.microsoft.com/office/drawing/2014/main" id="{909860A9-265B-42CE-8690-334195272E6E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42" name="Hilfslinie 13,95">
              <a:extLst>
                <a:ext uri="{FF2B5EF4-FFF2-40B4-BE49-F238E27FC236}">
                  <a16:creationId xmlns:a16="http://schemas.microsoft.com/office/drawing/2014/main" id="{A0BDE8A0-B08A-489A-9492-F7952522E7E9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Hilfslinie 12,10">
              <a:extLst>
                <a:ext uri="{FF2B5EF4-FFF2-40B4-BE49-F238E27FC236}">
                  <a16:creationId xmlns:a16="http://schemas.microsoft.com/office/drawing/2014/main" id="{A3EBECA4-CDF6-4787-AFF2-F4191E7D0053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Linientext 12,10">
              <a:extLst>
                <a:ext uri="{FF2B5EF4-FFF2-40B4-BE49-F238E27FC236}">
                  <a16:creationId xmlns:a16="http://schemas.microsoft.com/office/drawing/2014/main" id="{ECC1C1F3-1D4B-485A-B2D6-9696F4273304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45" name="Linientext 13,95">
              <a:extLst>
                <a:ext uri="{FF2B5EF4-FFF2-40B4-BE49-F238E27FC236}">
                  <a16:creationId xmlns:a16="http://schemas.microsoft.com/office/drawing/2014/main" id="{459ED0B7-1204-4217-9AB2-D1D486759846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46" name="Hilfslinie 13,95">
              <a:extLst>
                <a:ext uri="{FF2B5EF4-FFF2-40B4-BE49-F238E27FC236}">
                  <a16:creationId xmlns:a16="http://schemas.microsoft.com/office/drawing/2014/main" id="{D8C6F069-9BEF-480B-A22A-9A4D908558C2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Linientext 05,60">
              <a:extLst>
                <a:ext uri="{FF2B5EF4-FFF2-40B4-BE49-F238E27FC236}">
                  <a16:creationId xmlns:a16="http://schemas.microsoft.com/office/drawing/2014/main" id="{78DE95D7-4E2F-43CC-BC2A-6FCE485146CF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8" name="Linientext 05,60">
              <a:extLst>
                <a:ext uri="{FF2B5EF4-FFF2-40B4-BE49-F238E27FC236}">
                  <a16:creationId xmlns:a16="http://schemas.microsoft.com/office/drawing/2014/main" id="{8228707D-346A-43B1-8E1A-E567DF274E25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49" name="Linientext 05,60">
              <a:extLst>
                <a:ext uri="{FF2B5EF4-FFF2-40B4-BE49-F238E27FC236}">
                  <a16:creationId xmlns:a16="http://schemas.microsoft.com/office/drawing/2014/main" id="{B85BAE46-9C8D-4418-8B14-2FB354439584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50" name="Linientext 05,60">
              <a:extLst>
                <a:ext uri="{FF2B5EF4-FFF2-40B4-BE49-F238E27FC236}">
                  <a16:creationId xmlns:a16="http://schemas.microsoft.com/office/drawing/2014/main" id="{201D1582-8B1D-4EB8-9A8A-B4EA564C88B8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1" name="Hilfslinie 05,60">
              <a:extLst>
                <a:ext uri="{FF2B5EF4-FFF2-40B4-BE49-F238E27FC236}">
                  <a16:creationId xmlns:a16="http://schemas.microsoft.com/office/drawing/2014/main" id="{2D5BACC9-0187-477D-8B52-A405219554EA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Hilfslinie 05,60">
              <a:extLst>
                <a:ext uri="{FF2B5EF4-FFF2-40B4-BE49-F238E27FC236}">
                  <a16:creationId xmlns:a16="http://schemas.microsoft.com/office/drawing/2014/main" id="{2D85FD79-1328-44A0-888E-8ED4448C69E5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Hilfslinie 05,60">
              <a:extLst>
                <a:ext uri="{FF2B5EF4-FFF2-40B4-BE49-F238E27FC236}">
                  <a16:creationId xmlns:a16="http://schemas.microsoft.com/office/drawing/2014/main" id="{C9965AD1-9A87-49E4-8BF6-6961EBD81FE6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Hilfslinie 05,60">
              <a:extLst>
                <a:ext uri="{FF2B5EF4-FFF2-40B4-BE49-F238E27FC236}">
                  <a16:creationId xmlns:a16="http://schemas.microsoft.com/office/drawing/2014/main" id="{83C144B7-04FC-42F7-85CE-720D3CD63B8B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Hilfslinie 05,60">
              <a:extLst>
                <a:ext uri="{FF2B5EF4-FFF2-40B4-BE49-F238E27FC236}">
                  <a16:creationId xmlns:a16="http://schemas.microsoft.com/office/drawing/2014/main" id="{AA2687A4-7F2C-4F4D-895B-BCAE5A7B3717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Linientext 05,60">
              <a:extLst>
                <a:ext uri="{FF2B5EF4-FFF2-40B4-BE49-F238E27FC236}">
                  <a16:creationId xmlns:a16="http://schemas.microsoft.com/office/drawing/2014/main" id="{FE9A41C4-670D-402E-8A74-1F80AA07D9D6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Hilfslinie 05,60">
              <a:extLst>
                <a:ext uri="{FF2B5EF4-FFF2-40B4-BE49-F238E27FC236}">
                  <a16:creationId xmlns:a16="http://schemas.microsoft.com/office/drawing/2014/main" id="{33132F27-4E91-4D49-8013-12AFDAB0CB2A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0343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A1B0686-7F3E-4282-8088-A02D7E626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2784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EA1B0686-7F3E-4282-8088-A02D7E626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528D81-E54E-4B06-9D3A-CC1C83CD28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200" b="0" i="1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F1E89BDD-D967-4C93-ACA7-526D405DB852}"/>
              </a:ext>
            </a:extLst>
          </p:cNvPr>
          <p:cNvGrpSpPr/>
          <p:nvPr userDrawn="1"/>
        </p:nvGrpSpPr>
        <p:grpSpPr>
          <a:xfrm>
            <a:off x="63499" y="3175"/>
            <a:ext cx="12128501" cy="6845301"/>
            <a:chOff x="63499" y="3175"/>
            <a:chExt cx="12128501" cy="6845301"/>
          </a:xfrm>
        </p:grpSpPr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751C621C-536A-46BF-B4ED-A87AC4458464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3848099" y="5424488"/>
              <a:ext cx="1595438" cy="1423988"/>
            </a:xfrm>
            <a:custGeom>
              <a:avLst/>
              <a:gdLst>
                <a:gd name="T0" fmla="*/ 515 w 515"/>
                <a:gd name="T1" fmla="*/ 0 h 459"/>
                <a:gd name="T2" fmla="*/ 432 w 515"/>
                <a:gd name="T3" fmla="*/ 459 h 459"/>
                <a:gd name="T4" fmla="*/ 0 w 515"/>
                <a:gd name="T5" fmla="*/ 0 h 4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15" h="459">
                  <a:moveTo>
                    <a:pt x="515" y="0"/>
                  </a:moveTo>
                  <a:cubicBezTo>
                    <a:pt x="515" y="11"/>
                    <a:pt x="432" y="459"/>
                    <a:pt x="432" y="459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noFill/>
            <a:ln w="11113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Freeform 10">
              <a:extLst>
                <a:ext uri="{FF2B5EF4-FFF2-40B4-BE49-F238E27FC236}">
                  <a16:creationId xmlns:a16="http://schemas.microsoft.com/office/drawing/2014/main" id="{722BFA64-2264-4A39-AED4-A0C54D9860C0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9563100" y="3024188"/>
              <a:ext cx="2628900" cy="3824288"/>
            </a:xfrm>
            <a:custGeom>
              <a:avLst/>
              <a:gdLst>
                <a:gd name="T0" fmla="*/ 1329 w 1656"/>
                <a:gd name="T1" fmla="*/ 0 h 2409"/>
                <a:gd name="T2" fmla="*/ 0 w 1656"/>
                <a:gd name="T3" fmla="*/ 2409 h 2409"/>
                <a:gd name="T4" fmla="*/ 1551 w 1656"/>
                <a:gd name="T5" fmla="*/ 2044 h 2409"/>
                <a:gd name="T6" fmla="*/ 1656 w 1656"/>
                <a:gd name="T7" fmla="*/ 0 h 2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56" h="2409">
                  <a:moveTo>
                    <a:pt x="1329" y="0"/>
                  </a:moveTo>
                  <a:lnTo>
                    <a:pt x="0" y="2409"/>
                  </a:lnTo>
                  <a:lnTo>
                    <a:pt x="1551" y="2044"/>
                  </a:lnTo>
                  <a:lnTo>
                    <a:pt x="1656" y="0"/>
                  </a:lnTo>
                </a:path>
              </a:pathLst>
            </a:custGeom>
            <a:noFill/>
            <a:ln w="11113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498C0678-6A6D-477B-AD2B-DD828A09BD5B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4105274" y="3176"/>
              <a:ext cx="5624513" cy="6305550"/>
            </a:xfrm>
            <a:custGeom>
              <a:avLst/>
              <a:gdLst>
                <a:gd name="T0" fmla="*/ 88 w 3543"/>
                <a:gd name="T1" fmla="*/ 0 h 3972"/>
                <a:gd name="T2" fmla="*/ 3543 w 3543"/>
                <a:gd name="T3" fmla="*/ 557 h 3972"/>
                <a:gd name="T4" fmla="*/ 0 w 3543"/>
                <a:gd name="T5" fmla="*/ 1704 h 3972"/>
                <a:gd name="T6" fmla="*/ 849 w 3543"/>
                <a:gd name="T7" fmla="*/ 2069 h 3972"/>
                <a:gd name="T8" fmla="*/ 605 w 3543"/>
                <a:gd name="T9" fmla="*/ 3445 h 3972"/>
                <a:gd name="T10" fmla="*/ 1904 w 3543"/>
                <a:gd name="T11" fmla="*/ 3972 h 3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543" h="3972">
                  <a:moveTo>
                    <a:pt x="88" y="0"/>
                  </a:moveTo>
                  <a:lnTo>
                    <a:pt x="3543" y="557"/>
                  </a:lnTo>
                  <a:lnTo>
                    <a:pt x="0" y="1704"/>
                  </a:lnTo>
                  <a:lnTo>
                    <a:pt x="849" y="2069"/>
                  </a:lnTo>
                  <a:lnTo>
                    <a:pt x="605" y="3445"/>
                  </a:lnTo>
                  <a:lnTo>
                    <a:pt x="1904" y="3972"/>
                  </a:lnTo>
                </a:path>
              </a:pathLst>
            </a:custGeom>
            <a:noFill/>
            <a:ln w="11113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id="{BA654CF3-8AA4-43B6-B5D6-C00248913501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4105275" y="839788"/>
              <a:ext cx="4664075" cy="4584700"/>
            </a:xfrm>
            <a:custGeom>
              <a:avLst/>
              <a:gdLst>
                <a:gd name="T0" fmla="*/ 0 w 2938"/>
                <a:gd name="T1" fmla="*/ 2888 h 2888"/>
                <a:gd name="T2" fmla="*/ 2938 w 2938"/>
                <a:gd name="T3" fmla="*/ 0 h 2888"/>
                <a:gd name="T4" fmla="*/ 244 w 2938"/>
                <a:gd name="T5" fmla="*/ 1512 h 28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38" h="2888">
                  <a:moveTo>
                    <a:pt x="0" y="2888"/>
                  </a:moveTo>
                  <a:lnTo>
                    <a:pt x="2938" y="0"/>
                  </a:lnTo>
                  <a:lnTo>
                    <a:pt x="244" y="1512"/>
                  </a:lnTo>
                </a:path>
              </a:pathLst>
            </a:custGeom>
            <a:noFill/>
            <a:ln w="11113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id="{1F35DA4C-EBFE-43B4-BDF3-C145B3B2555E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2197099" y="3175"/>
              <a:ext cx="3138488" cy="5421313"/>
            </a:xfrm>
            <a:custGeom>
              <a:avLst/>
              <a:gdLst>
                <a:gd name="T0" fmla="*/ 0 w 1977"/>
                <a:gd name="T1" fmla="*/ 3415 h 3415"/>
                <a:gd name="T2" fmla="*/ 775 w 1977"/>
                <a:gd name="T3" fmla="*/ 0 h 3415"/>
                <a:gd name="T4" fmla="*/ 1977 w 1977"/>
                <a:gd name="T5" fmla="*/ 953 h 3415"/>
                <a:gd name="T6" fmla="*/ 172 w 1977"/>
                <a:gd name="T7" fmla="*/ 3415 h 34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77" h="3415">
                  <a:moveTo>
                    <a:pt x="0" y="3415"/>
                  </a:moveTo>
                  <a:lnTo>
                    <a:pt x="775" y="0"/>
                  </a:lnTo>
                  <a:lnTo>
                    <a:pt x="1977" y="953"/>
                  </a:lnTo>
                  <a:lnTo>
                    <a:pt x="172" y="3415"/>
                  </a:lnTo>
                </a:path>
              </a:pathLst>
            </a:custGeom>
            <a:noFill/>
            <a:ln w="11113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id="{3C520E24-4EF0-463B-BA7B-26AF4370C470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63499" y="3911601"/>
              <a:ext cx="2744788" cy="2936875"/>
            </a:xfrm>
            <a:custGeom>
              <a:avLst/>
              <a:gdLst>
                <a:gd name="T0" fmla="*/ 0 w 1729"/>
                <a:gd name="T1" fmla="*/ 0 h 1850"/>
                <a:gd name="T2" fmla="*/ 385 w 1729"/>
                <a:gd name="T3" fmla="*/ 1850 h 1850"/>
                <a:gd name="T4" fmla="*/ 1729 w 1729"/>
                <a:gd name="T5" fmla="*/ 1600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29" h="1850">
                  <a:moveTo>
                    <a:pt x="0" y="0"/>
                  </a:moveTo>
                  <a:lnTo>
                    <a:pt x="385" y="1850"/>
                  </a:lnTo>
                  <a:lnTo>
                    <a:pt x="1729" y="1600"/>
                  </a:lnTo>
                </a:path>
              </a:pathLst>
            </a:custGeom>
            <a:noFill/>
            <a:ln w="11113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id="{87EFB20E-9643-4692-90E9-7C29C80808BC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63500" y="1106488"/>
              <a:ext cx="4016375" cy="2190750"/>
            </a:xfrm>
            <a:custGeom>
              <a:avLst/>
              <a:gdLst>
                <a:gd name="T0" fmla="*/ 2530 w 2530"/>
                <a:gd name="T1" fmla="*/ 0 h 1380"/>
                <a:gd name="T2" fmla="*/ 0 w 2530"/>
                <a:gd name="T3" fmla="*/ 1233 h 1380"/>
                <a:gd name="T4" fmla="*/ 2530 w 2530"/>
                <a:gd name="T5" fmla="*/ 1380 h 1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30" h="1380">
                  <a:moveTo>
                    <a:pt x="2530" y="0"/>
                  </a:moveTo>
                  <a:lnTo>
                    <a:pt x="0" y="1233"/>
                  </a:lnTo>
                  <a:lnTo>
                    <a:pt x="2530" y="1380"/>
                  </a:lnTo>
                </a:path>
              </a:pathLst>
            </a:custGeom>
            <a:noFill/>
            <a:ln w="11113" cap="rnd">
              <a:solidFill>
                <a:schemeClr val="bg1">
                  <a:lumMod val="95000"/>
                </a:schemeClr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0D9A9A1A-30D4-40B6-9737-3CD0484F8455}"/>
              </a:ext>
            </a:extLst>
          </p:cNvPr>
          <p:cNvGrpSpPr/>
          <p:nvPr userDrawn="1"/>
        </p:nvGrpSpPr>
        <p:grpSpPr>
          <a:xfrm>
            <a:off x="623888" y="6415097"/>
            <a:ext cx="841094" cy="111909"/>
            <a:chOff x="223019" y="5512949"/>
            <a:chExt cx="2540191" cy="337977"/>
          </a:xfrm>
        </p:grpSpPr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BE21D5B4-F0C1-4468-8EBD-874ECFC801DF}"/>
                </a:ext>
              </a:extLst>
            </p:cNvPr>
            <p:cNvSpPr/>
            <p:nvPr/>
          </p:nvSpPr>
          <p:spPr>
            <a:xfrm>
              <a:off x="490471" y="5606744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4E1565D5-D3DF-4D0A-848B-EFA9F999D940}"/>
                </a:ext>
              </a:extLst>
            </p:cNvPr>
            <p:cNvSpPr/>
            <p:nvPr/>
          </p:nvSpPr>
          <p:spPr>
            <a:xfrm>
              <a:off x="882599" y="5611914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2E3ACEEB-5F3D-464E-A04F-58231AF2D1C4}"/>
                </a:ext>
              </a:extLst>
            </p:cNvPr>
            <p:cNvSpPr/>
            <p:nvPr/>
          </p:nvSpPr>
          <p:spPr>
            <a:xfrm>
              <a:off x="1328017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AD62B2D5-1F73-44B2-BCE2-91CB301A3039}"/>
                </a:ext>
              </a:extLst>
            </p:cNvPr>
            <p:cNvSpPr/>
            <p:nvPr/>
          </p:nvSpPr>
          <p:spPr>
            <a:xfrm>
              <a:off x="2705755" y="5512949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74097633-A197-41BF-9D95-5E56DA8953DC}"/>
                </a:ext>
              </a:extLst>
            </p:cNvPr>
            <p:cNvSpPr/>
            <p:nvPr/>
          </p:nvSpPr>
          <p:spPr>
            <a:xfrm>
              <a:off x="2427843" y="5606026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5B6FAE3F-3EC3-4DC6-9697-72BA1D21D205}"/>
                </a:ext>
              </a:extLst>
            </p:cNvPr>
            <p:cNvSpPr/>
            <p:nvPr/>
          </p:nvSpPr>
          <p:spPr>
            <a:xfrm>
              <a:off x="2651342" y="5614356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8F61DCA6-E2FE-4E81-8770-FF1B96F8CD1D}"/>
                </a:ext>
              </a:extLst>
            </p:cNvPr>
            <p:cNvSpPr/>
            <p:nvPr/>
          </p:nvSpPr>
          <p:spPr>
            <a:xfrm>
              <a:off x="1914198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5ECF9280-32CB-4DF5-8940-382E0DE63A4E}"/>
                </a:ext>
              </a:extLst>
            </p:cNvPr>
            <p:cNvSpPr/>
            <p:nvPr/>
          </p:nvSpPr>
          <p:spPr>
            <a:xfrm>
              <a:off x="1117732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195E1F27-9803-4134-9F25-93256FDA86BB}"/>
                </a:ext>
              </a:extLst>
            </p:cNvPr>
            <p:cNvSpPr/>
            <p:nvPr/>
          </p:nvSpPr>
          <p:spPr>
            <a:xfrm>
              <a:off x="2154790" y="5521567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30974525-DC9E-47E1-8C29-FCF9C8D897FD}"/>
                </a:ext>
              </a:extLst>
            </p:cNvPr>
            <p:cNvSpPr/>
            <p:nvPr/>
          </p:nvSpPr>
          <p:spPr>
            <a:xfrm>
              <a:off x="637269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495ED360-4A20-49CF-B451-DA9E928305B5}"/>
                </a:ext>
              </a:extLst>
            </p:cNvPr>
            <p:cNvSpPr/>
            <p:nvPr/>
          </p:nvSpPr>
          <p:spPr>
            <a:xfrm>
              <a:off x="223019" y="5521567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308231CC-30B7-419A-ABBE-82053502C553}"/>
                </a:ext>
              </a:extLst>
            </p:cNvPr>
            <p:cNvSpPr/>
            <p:nvPr/>
          </p:nvSpPr>
          <p:spPr>
            <a:xfrm>
              <a:off x="1579955" y="5521567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8" name="Freihandform: Form 57">
            <a:extLst>
              <a:ext uri="{FF2B5EF4-FFF2-40B4-BE49-F238E27FC236}">
                <a16:creationId xmlns:a16="http://schemas.microsoft.com/office/drawing/2014/main" id="{980C9420-11B8-49AC-943D-B95A35757251}"/>
              </a:ext>
            </a:extLst>
          </p:cNvPr>
          <p:cNvSpPr/>
          <p:nvPr userDrawn="1"/>
        </p:nvSpPr>
        <p:spPr>
          <a:xfrm>
            <a:off x="1796103" y="6422713"/>
            <a:ext cx="1189211" cy="131809"/>
          </a:xfrm>
          <a:custGeom>
            <a:avLst/>
            <a:gdLst>
              <a:gd name="connsiteX0" fmla="*/ 3869817 w 3867150"/>
              <a:gd name="connsiteY0" fmla="*/ 118300 h 428625"/>
              <a:gd name="connsiteX1" fmla="*/ 3787617 w 3867150"/>
              <a:gd name="connsiteY1" fmla="*/ 87916 h 428625"/>
              <a:gd name="connsiteX2" fmla="*/ 3705416 w 3867150"/>
              <a:gd name="connsiteY2" fmla="*/ 116396 h 428625"/>
              <a:gd name="connsiteX3" fmla="*/ 3680270 w 3867150"/>
              <a:gd name="connsiteY3" fmla="*/ 178213 h 428625"/>
              <a:gd name="connsiteX4" fmla="*/ 3739610 w 3867150"/>
              <a:gd name="connsiteY4" fmla="*/ 234315 h 428625"/>
              <a:gd name="connsiteX5" fmla="*/ 3771995 w 3867150"/>
              <a:gd name="connsiteY5" fmla="*/ 239554 h 428625"/>
              <a:gd name="connsiteX6" fmla="*/ 3795332 w 3867150"/>
              <a:gd name="connsiteY6" fmla="*/ 260032 h 428625"/>
              <a:gd name="connsiteX7" fmla="*/ 3744944 w 3867150"/>
              <a:gd name="connsiteY7" fmla="*/ 290894 h 428625"/>
              <a:gd name="connsiteX8" fmla="*/ 3687985 w 3867150"/>
              <a:gd name="connsiteY8" fmla="*/ 267081 h 428625"/>
              <a:gd name="connsiteX9" fmla="*/ 3645694 w 3867150"/>
              <a:gd name="connsiteY9" fmla="*/ 304133 h 428625"/>
              <a:gd name="connsiteX10" fmla="*/ 3741135 w 3867150"/>
              <a:gd name="connsiteY10" fmla="*/ 341186 h 428625"/>
              <a:gd name="connsiteX11" fmla="*/ 3827145 w 3867150"/>
              <a:gd name="connsiteY11" fmla="*/ 314134 h 428625"/>
              <a:gd name="connsiteX12" fmla="*/ 3853720 w 3867150"/>
              <a:gd name="connsiteY12" fmla="*/ 254222 h 428625"/>
              <a:gd name="connsiteX13" fmla="*/ 3793903 w 3867150"/>
              <a:gd name="connsiteY13" fmla="*/ 190024 h 428625"/>
              <a:gd name="connsiteX14" fmla="*/ 3761994 w 3867150"/>
              <a:gd name="connsiteY14" fmla="*/ 184785 h 428625"/>
              <a:gd name="connsiteX15" fmla="*/ 3739134 w 3867150"/>
              <a:gd name="connsiteY15" fmla="*/ 166211 h 428625"/>
              <a:gd name="connsiteX16" fmla="*/ 3782377 w 3867150"/>
              <a:gd name="connsiteY16" fmla="*/ 136303 h 428625"/>
              <a:gd name="connsiteX17" fmla="*/ 3829431 w 3867150"/>
              <a:gd name="connsiteY17" fmla="*/ 153924 h 428625"/>
              <a:gd name="connsiteX18" fmla="*/ 3869817 w 3867150"/>
              <a:gd name="connsiteY18" fmla="*/ 118300 h 428625"/>
              <a:gd name="connsiteX19" fmla="*/ 3661220 w 3867150"/>
              <a:gd name="connsiteY19" fmla="*/ 122111 h 428625"/>
              <a:gd name="connsiteX20" fmla="*/ 3588544 w 3867150"/>
              <a:gd name="connsiteY20" fmla="*/ 87916 h 428625"/>
              <a:gd name="connsiteX21" fmla="*/ 3462623 w 3867150"/>
              <a:gd name="connsiteY21" fmla="*/ 214313 h 428625"/>
              <a:gd name="connsiteX22" fmla="*/ 3458813 w 3867150"/>
              <a:gd name="connsiteY22" fmla="*/ 252794 h 428625"/>
              <a:gd name="connsiteX23" fmla="*/ 3547586 w 3867150"/>
              <a:gd name="connsiteY23" fmla="*/ 341186 h 428625"/>
              <a:gd name="connsiteX24" fmla="*/ 3629311 w 3867150"/>
              <a:gd name="connsiteY24" fmla="*/ 309848 h 428625"/>
              <a:gd name="connsiteX25" fmla="*/ 3596545 w 3867150"/>
              <a:gd name="connsiteY25" fmla="*/ 267557 h 428625"/>
              <a:gd name="connsiteX26" fmla="*/ 3553301 w 3867150"/>
              <a:gd name="connsiteY26" fmla="*/ 288512 h 428625"/>
              <a:gd name="connsiteX27" fmla="*/ 3518154 w 3867150"/>
              <a:gd name="connsiteY27" fmla="*/ 246221 h 428625"/>
              <a:gd name="connsiteX28" fmla="*/ 3521488 w 3867150"/>
              <a:gd name="connsiteY28" fmla="*/ 214313 h 428625"/>
              <a:gd name="connsiteX29" fmla="*/ 3547586 w 3867150"/>
              <a:gd name="connsiteY29" fmla="*/ 156305 h 428625"/>
              <a:gd name="connsiteX30" fmla="*/ 3582734 w 3867150"/>
              <a:gd name="connsiteY30" fmla="*/ 140589 h 428625"/>
              <a:gd name="connsiteX31" fmla="*/ 3616928 w 3867150"/>
              <a:gd name="connsiteY31" fmla="*/ 161068 h 428625"/>
              <a:gd name="connsiteX32" fmla="*/ 3661220 w 3867150"/>
              <a:gd name="connsiteY32" fmla="*/ 122111 h 428625"/>
              <a:gd name="connsiteX33" fmla="*/ 3456813 w 3867150"/>
              <a:gd name="connsiteY33" fmla="*/ 953 h 428625"/>
              <a:gd name="connsiteX34" fmla="*/ 3395948 w 3867150"/>
              <a:gd name="connsiteY34" fmla="*/ 953 h 428625"/>
              <a:gd name="connsiteX35" fmla="*/ 3386423 w 3867150"/>
              <a:gd name="connsiteY35" fmla="*/ 49816 h 428625"/>
              <a:gd name="connsiteX36" fmla="*/ 3446812 w 3867150"/>
              <a:gd name="connsiteY36" fmla="*/ 49816 h 428625"/>
              <a:gd name="connsiteX37" fmla="*/ 3456813 w 3867150"/>
              <a:gd name="connsiteY37" fmla="*/ 953 h 428625"/>
              <a:gd name="connsiteX38" fmla="*/ 3436906 w 3867150"/>
              <a:gd name="connsiteY38" fmla="*/ 98393 h 428625"/>
              <a:gd name="connsiteX39" fmla="*/ 3377946 w 3867150"/>
              <a:gd name="connsiteY39" fmla="*/ 98393 h 428625"/>
              <a:gd name="connsiteX40" fmla="*/ 3329940 w 3867150"/>
              <a:gd name="connsiteY40" fmla="*/ 338423 h 428625"/>
              <a:gd name="connsiteX41" fmla="*/ 3388900 w 3867150"/>
              <a:gd name="connsiteY41" fmla="*/ 338423 h 428625"/>
              <a:gd name="connsiteX42" fmla="*/ 3436906 w 3867150"/>
              <a:gd name="connsiteY42" fmla="*/ 98393 h 428625"/>
              <a:gd name="connsiteX43" fmla="*/ 3328035 w 3867150"/>
              <a:gd name="connsiteY43" fmla="*/ 98393 h 428625"/>
              <a:gd name="connsiteX44" fmla="*/ 3287173 w 3867150"/>
              <a:gd name="connsiteY44" fmla="*/ 98393 h 428625"/>
              <a:gd name="connsiteX45" fmla="*/ 3301937 w 3867150"/>
              <a:gd name="connsiteY45" fmla="*/ 24289 h 428625"/>
              <a:gd name="connsiteX46" fmla="*/ 3242977 w 3867150"/>
              <a:gd name="connsiteY46" fmla="*/ 24289 h 428625"/>
              <a:gd name="connsiteX47" fmla="*/ 3228213 w 3867150"/>
              <a:gd name="connsiteY47" fmla="*/ 98393 h 428625"/>
              <a:gd name="connsiteX48" fmla="*/ 3203067 w 3867150"/>
              <a:gd name="connsiteY48" fmla="*/ 98393 h 428625"/>
              <a:gd name="connsiteX49" fmla="*/ 3194019 w 3867150"/>
              <a:gd name="connsiteY49" fmla="*/ 142970 h 428625"/>
              <a:gd name="connsiteX50" fmla="*/ 3219164 w 3867150"/>
              <a:gd name="connsiteY50" fmla="*/ 142970 h 428625"/>
              <a:gd name="connsiteX51" fmla="*/ 3194971 w 3867150"/>
              <a:gd name="connsiteY51" fmla="*/ 264223 h 428625"/>
              <a:gd name="connsiteX52" fmla="*/ 3193066 w 3867150"/>
              <a:gd name="connsiteY52" fmla="*/ 284702 h 428625"/>
              <a:gd name="connsiteX53" fmla="*/ 3252883 w 3867150"/>
              <a:gd name="connsiteY53" fmla="*/ 338328 h 428625"/>
              <a:gd name="connsiteX54" fmla="*/ 3283268 w 3867150"/>
              <a:gd name="connsiteY54" fmla="*/ 338328 h 428625"/>
              <a:gd name="connsiteX55" fmla="*/ 3293269 w 3867150"/>
              <a:gd name="connsiteY55" fmla="*/ 288988 h 428625"/>
              <a:gd name="connsiteX56" fmla="*/ 3271933 w 3867150"/>
              <a:gd name="connsiteY56" fmla="*/ 288988 h 428625"/>
              <a:gd name="connsiteX57" fmla="*/ 3252883 w 3867150"/>
              <a:gd name="connsiteY57" fmla="*/ 273748 h 428625"/>
              <a:gd name="connsiteX58" fmla="*/ 3253836 w 3867150"/>
              <a:gd name="connsiteY58" fmla="*/ 264700 h 428625"/>
              <a:gd name="connsiteX59" fmla="*/ 3278029 w 3867150"/>
              <a:gd name="connsiteY59" fmla="*/ 142970 h 428625"/>
              <a:gd name="connsiteX60" fmla="*/ 3318891 w 3867150"/>
              <a:gd name="connsiteY60" fmla="*/ 142970 h 428625"/>
              <a:gd name="connsiteX61" fmla="*/ 3328035 w 3867150"/>
              <a:gd name="connsiteY61" fmla="*/ 98393 h 428625"/>
              <a:gd name="connsiteX62" fmla="*/ 3163062 w 3867150"/>
              <a:gd name="connsiteY62" fmla="*/ 118300 h 428625"/>
              <a:gd name="connsiteX63" fmla="*/ 3080861 w 3867150"/>
              <a:gd name="connsiteY63" fmla="*/ 87916 h 428625"/>
              <a:gd name="connsiteX64" fmla="*/ 2998565 w 3867150"/>
              <a:gd name="connsiteY64" fmla="*/ 116396 h 428625"/>
              <a:gd name="connsiteX65" fmla="*/ 2973420 w 3867150"/>
              <a:gd name="connsiteY65" fmla="*/ 178213 h 428625"/>
              <a:gd name="connsiteX66" fmla="*/ 3032760 w 3867150"/>
              <a:gd name="connsiteY66" fmla="*/ 234315 h 428625"/>
              <a:gd name="connsiteX67" fmla="*/ 3065145 w 3867150"/>
              <a:gd name="connsiteY67" fmla="*/ 239554 h 428625"/>
              <a:gd name="connsiteX68" fmla="*/ 3088481 w 3867150"/>
              <a:gd name="connsiteY68" fmla="*/ 260032 h 428625"/>
              <a:gd name="connsiteX69" fmla="*/ 3037999 w 3867150"/>
              <a:gd name="connsiteY69" fmla="*/ 290894 h 428625"/>
              <a:gd name="connsiteX70" fmla="*/ 2981039 w 3867150"/>
              <a:gd name="connsiteY70" fmla="*/ 267081 h 428625"/>
              <a:gd name="connsiteX71" fmla="*/ 2938748 w 3867150"/>
              <a:gd name="connsiteY71" fmla="*/ 304133 h 428625"/>
              <a:gd name="connsiteX72" fmla="*/ 3034189 w 3867150"/>
              <a:gd name="connsiteY72" fmla="*/ 341186 h 428625"/>
              <a:gd name="connsiteX73" fmla="*/ 3120295 w 3867150"/>
              <a:gd name="connsiteY73" fmla="*/ 314134 h 428625"/>
              <a:gd name="connsiteX74" fmla="*/ 3146870 w 3867150"/>
              <a:gd name="connsiteY74" fmla="*/ 254222 h 428625"/>
              <a:gd name="connsiteX75" fmla="*/ 3087053 w 3867150"/>
              <a:gd name="connsiteY75" fmla="*/ 190024 h 428625"/>
              <a:gd name="connsiteX76" fmla="*/ 3055144 w 3867150"/>
              <a:gd name="connsiteY76" fmla="*/ 184785 h 428625"/>
              <a:gd name="connsiteX77" fmla="*/ 3032284 w 3867150"/>
              <a:gd name="connsiteY77" fmla="*/ 166211 h 428625"/>
              <a:gd name="connsiteX78" fmla="*/ 3075623 w 3867150"/>
              <a:gd name="connsiteY78" fmla="*/ 136303 h 428625"/>
              <a:gd name="connsiteX79" fmla="*/ 3122676 w 3867150"/>
              <a:gd name="connsiteY79" fmla="*/ 153924 h 428625"/>
              <a:gd name="connsiteX80" fmla="*/ 3163062 w 3867150"/>
              <a:gd name="connsiteY80" fmla="*/ 118300 h 428625"/>
              <a:gd name="connsiteX81" fmla="*/ 2858453 w 3867150"/>
              <a:gd name="connsiteY81" fmla="*/ 231934 h 428625"/>
              <a:gd name="connsiteX82" fmla="*/ 2855595 w 3867150"/>
              <a:gd name="connsiteY82" fmla="*/ 246697 h 428625"/>
              <a:gd name="connsiteX83" fmla="*/ 2840831 w 3867150"/>
              <a:gd name="connsiteY83" fmla="*/ 278035 h 428625"/>
              <a:gd name="connsiteX84" fmla="*/ 2802350 w 3867150"/>
              <a:gd name="connsiteY84" fmla="*/ 293275 h 428625"/>
              <a:gd name="connsiteX85" fmla="*/ 2770918 w 3867150"/>
              <a:gd name="connsiteY85" fmla="*/ 269938 h 428625"/>
              <a:gd name="connsiteX86" fmla="*/ 2813209 w 3867150"/>
              <a:gd name="connsiteY86" fmla="*/ 231838 h 428625"/>
              <a:gd name="connsiteX87" fmla="*/ 2858453 w 3867150"/>
              <a:gd name="connsiteY87" fmla="*/ 231838 h 428625"/>
              <a:gd name="connsiteX88" fmla="*/ 2930652 w 3867150"/>
              <a:gd name="connsiteY88" fmla="*/ 156877 h 428625"/>
              <a:gd name="connsiteX89" fmla="*/ 2842736 w 3867150"/>
              <a:gd name="connsiteY89" fmla="*/ 88011 h 428625"/>
              <a:gd name="connsiteX90" fmla="*/ 2751011 w 3867150"/>
              <a:gd name="connsiteY90" fmla="*/ 121253 h 428625"/>
              <a:gd name="connsiteX91" fmla="*/ 2781395 w 3867150"/>
              <a:gd name="connsiteY91" fmla="*/ 160687 h 428625"/>
              <a:gd name="connsiteX92" fmla="*/ 2834640 w 3867150"/>
              <a:gd name="connsiteY92" fmla="*/ 137350 h 428625"/>
              <a:gd name="connsiteX93" fmla="*/ 2871311 w 3867150"/>
              <a:gd name="connsiteY93" fmla="*/ 164021 h 428625"/>
              <a:gd name="connsiteX94" fmla="*/ 2869883 w 3867150"/>
              <a:gd name="connsiteY94" fmla="*/ 176879 h 428625"/>
              <a:gd name="connsiteX95" fmla="*/ 2866549 w 3867150"/>
              <a:gd name="connsiteY95" fmla="*/ 191643 h 428625"/>
              <a:gd name="connsiteX96" fmla="*/ 2807589 w 3867150"/>
              <a:gd name="connsiteY96" fmla="*/ 191643 h 428625"/>
              <a:gd name="connsiteX97" fmla="*/ 2735390 w 3867150"/>
              <a:gd name="connsiteY97" fmla="*/ 217265 h 428625"/>
              <a:gd name="connsiteX98" fmla="*/ 2713101 w 3867150"/>
              <a:gd name="connsiteY98" fmla="*/ 275749 h 428625"/>
              <a:gd name="connsiteX99" fmla="*/ 2783872 w 3867150"/>
              <a:gd name="connsiteY99" fmla="*/ 340805 h 428625"/>
              <a:gd name="connsiteX100" fmla="*/ 2843784 w 3867150"/>
              <a:gd name="connsiteY100" fmla="*/ 316611 h 428625"/>
              <a:gd name="connsiteX101" fmla="*/ 2839498 w 3867150"/>
              <a:gd name="connsiteY101" fmla="*/ 338423 h 428625"/>
              <a:gd name="connsiteX102" fmla="*/ 2896076 w 3867150"/>
              <a:gd name="connsiteY102" fmla="*/ 338423 h 428625"/>
              <a:gd name="connsiteX103" fmla="*/ 2928366 w 3867150"/>
              <a:gd name="connsiteY103" fmla="*/ 178784 h 428625"/>
              <a:gd name="connsiteX104" fmla="*/ 2930652 w 3867150"/>
              <a:gd name="connsiteY104" fmla="*/ 156877 h 428625"/>
              <a:gd name="connsiteX105" fmla="*/ 2697766 w 3867150"/>
              <a:gd name="connsiteY105" fmla="*/ 0 h 428625"/>
              <a:gd name="connsiteX106" fmla="*/ 2638806 w 3867150"/>
              <a:gd name="connsiteY106" fmla="*/ 0 h 428625"/>
              <a:gd name="connsiteX107" fmla="*/ 2586133 w 3867150"/>
              <a:gd name="connsiteY107" fmla="*/ 264223 h 428625"/>
              <a:gd name="connsiteX108" fmla="*/ 2584228 w 3867150"/>
              <a:gd name="connsiteY108" fmla="*/ 284702 h 428625"/>
              <a:gd name="connsiteX109" fmla="*/ 2643569 w 3867150"/>
              <a:gd name="connsiteY109" fmla="*/ 338328 h 428625"/>
              <a:gd name="connsiteX110" fmla="*/ 2675858 w 3867150"/>
              <a:gd name="connsiteY110" fmla="*/ 338328 h 428625"/>
              <a:gd name="connsiteX111" fmla="*/ 2685860 w 3867150"/>
              <a:gd name="connsiteY111" fmla="*/ 288512 h 428625"/>
              <a:gd name="connsiteX112" fmla="*/ 2661666 w 3867150"/>
              <a:gd name="connsiteY112" fmla="*/ 288512 h 428625"/>
              <a:gd name="connsiteX113" fmla="*/ 2643569 w 3867150"/>
              <a:gd name="connsiteY113" fmla="*/ 274225 h 428625"/>
              <a:gd name="connsiteX114" fmla="*/ 2644997 w 3867150"/>
              <a:gd name="connsiteY114" fmla="*/ 263747 h 428625"/>
              <a:gd name="connsiteX115" fmla="*/ 2697766 w 3867150"/>
              <a:gd name="connsiteY115" fmla="*/ 0 h 428625"/>
              <a:gd name="connsiteX116" fmla="*/ 2514791 w 3867150"/>
              <a:gd name="connsiteY116" fmla="*/ 94583 h 428625"/>
              <a:gd name="connsiteX117" fmla="*/ 2455355 w 3867150"/>
              <a:gd name="connsiteY117" fmla="*/ 151638 h 428625"/>
              <a:gd name="connsiteX118" fmla="*/ 2399253 w 3867150"/>
              <a:gd name="connsiteY118" fmla="*/ 151638 h 428625"/>
              <a:gd name="connsiteX119" fmla="*/ 2418779 w 3867150"/>
              <a:gd name="connsiteY119" fmla="*/ 55531 h 428625"/>
              <a:gd name="connsiteX120" fmla="*/ 2476786 w 3867150"/>
              <a:gd name="connsiteY120" fmla="*/ 55531 h 428625"/>
              <a:gd name="connsiteX121" fmla="*/ 2514791 w 3867150"/>
              <a:gd name="connsiteY121" fmla="*/ 94583 h 428625"/>
              <a:gd name="connsiteX122" fmla="*/ 2578037 w 3867150"/>
              <a:gd name="connsiteY122" fmla="*/ 89345 h 428625"/>
              <a:gd name="connsiteX123" fmla="*/ 2487359 w 3867150"/>
              <a:gd name="connsiteY123" fmla="*/ 0 h 428625"/>
              <a:gd name="connsiteX124" fmla="*/ 2367058 w 3867150"/>
              <a:gd name="connsiteY124" fmla="*/ 0 h 428625"/>
              <a:gd name="connsiteX125" fmla="*/ 2299049 w 3867150"/>
              <a:gd name="connsiteY125" fmla="*/ 338328 h 428625"/>
              <a:gd name="connsiteX126" fmla="*/ 2361819 w 3867150"/>
              <a:gd name="connsiteY126" fmla="*/ 338328 h 428625"/>
              <a:gd name="connsiteX127" fmla="*/ 2387918 w 3867150"/>
              <a:gd name="connsiteY127" fmla="*/ 207169 h 428625"/>
              <a:gd name="connsiteX128" fmla="*/ 2453069 w 3867150"/>
              <a:gd name="connsiteY128" fmla="*/ 207169 h 428625"/>
              <a:gd name="connsiteX129" fmla="*/ 2578037 w 3867150"/>
              <a:gd name="connsiteY129" fmla="*/ 89345 h 428625"/>
              <a:gd name="connsiteX130" fmla="*/ 2105501 w 3867150"/>
              <a:gd name="connsiteY130" fmla="*/ 173546 h 428625"/>
              <a:gd name="connsiteX131" fmla="*/ 2101215 w 3867150"/>
              <a:gd name="connsiteY131" fmla="*/ 207740 h 428625"/>
              <a:gd name="connsiteX132" fmla="*/ 2048923 w 3867150"/>
              <a:gd name="connsiteY132" fmla="*/ 275272 h 428625"/>
              <a:gd name="connsiteX133" fmla="*/ 2019490 w 3867150"/>
              <a:gd name="connsiteY133" fmla="*/ 242506 h 428625"/>
              <a:gd name="connsiteX134" fmla="*/ 2023777 w 3867150"/>
              <a:gd name="connsiteY134" fmla="*/ 208312 h 428625"/>
              <a:gd name="connsiteX135" fmla="*/ 2076069 w 3867150"/>
              <a:gd name="connsiteY135" fmla="*/ 140779 h 428625"/>
              <a:gd name="connsiteX136" fmla="*/ 2105501 w 3867150"/>
              <a:gd name="connsiteY136" fmla="*/ 173546 h 428625"/>
              <a:gd name="connsiteX137" fmla="*/ 2105501 w 3867150"/>
              <a:gd name="connsiteY137" fmla="*/ 173546 h 428625"/>
              <a:gd name="connsiteX138" fmla="*/ 2183035 w 3867150"/>
              <a:gd name="connsiteY138" fmla="*/ 90773 h 428625"/>
              <a:gd name="connsiteX139" fmla="*/ 2125980 w 3867150"/>
              <a:gd name="connsiteY139" fmla="*/ 90773 h 428625"/>
              <a:gd name="connsiteX140" fmla="*/ 2121218 w 3867150"/>
              <a:gd name="connsiteY140" fmla="*/ 115919 h 428625"/>
              <a:gd name="connsiteX141" fmla="*/ 2065115 w 3867150"/>
              <a:gd name="connsiteY141" fmla="*/ 87821 h 428625"/>
              <a:gd name="connsiteX142" fmla="*/ 2001964 w 3867150"/>
              <a:gd name="connsiteY142" fmla="*/ 112490 h 428625"/>
              <a:gd name="connsiteX143" fmla="*/ 1964912 w 3867150"/>
              <a:gd name="connsiteY143" fmla="*/ 207550 h 428625"/>
              <a:gd name="connsiteX144" fmla="*/ 1958721 w 3867150"/>
              <a:gd name="connsiteY144" fmla="*/ 257937 h 428625"/>
              <a:gd name="connsiteX145" fmla="*/ 2027111 w 3867150"/>
              <a:gd name="connsiteY145" fmla="*/ 327755 h 428625"/>
              <a:gd name="connsiteX146" fmla="*/ 2082260 w 3867150"/>
              <a:gd name="connsiteY146" fmla="*/ 303086 h 428625"/>
              <a:gd name="connsiteX147" fmla="*/ 2077022 w 3867150"/>
              <a:gd name="connsiteY147" fmla="*/ 328231 h 428625"/>
              <a:gd name="connsiteX148" fmla="*/ 2016633 w 3867150"/>
              <a:gd name="connsiteY148" fmla="*/ 381953 h 428625"/>
              <a:gd name="connsiteX149" fmla="*/ 1975295 w 3867150"/>
              <a:gd name="connsiteY149" fmla="*/ 362426 h 428625"/>
              <a:gd name="connsiteX150" fmla="*/ 1934432 w 3867150"/>
              <a:gd name="connsiteY150" fmla="*/ 398050 h 428625"/>
              <a:gd name="connsiteX151" fmla="*/ 2016633 w 3867150"/>
              <a:gd name="connsiteY151" fmla="*/ 431768 h 428625"/>
              <a:gd name="connsiteX152" fmla="*/ 2135505 w 3867150"/>
              <a:gd name="connsiteY152" fmla="*/ 328613 h 428625"/>
              <a:gd name="connsiteX153" fmla="*/ 2183035 w 3867150"/>
              <a:gd name="connsiteY153" fmla="*/ 90773 h 428625"/>
              <a:gd name="connsiteX154" fmla="*/ 1924431 w 3867150"/>
              <a:gd name="connsiteY154" fmla="*/ 156305 h 428625"/>
              <a:gd name="connsiteX155" fmla="*/ 1861280 w 3867150"/>
              <a:gd name="connsiteY155" fmla="*/ 87916 h 428625"/>
              <a:gd name="connsiteX156" fmla="*/ 1796129 w 3867150"/>
              <a:gd name="connsiteY156" fmla="*/ 114490 h 428625"/>
              <a:gd name="connsiteX157" fmla="*/ 1800415 w 3867150"/>
              <a:gd name="connsiteY157" fmla="*/ 90773 h 428625"/>
              <a:gd name="connsiteX158" fmla="*/ 1743837 w 3867150"/>
              <a:gd name="connsiteY158" fmla="*/ 90773 h 428625"/>
              <a:gd name="connsiteX159" fmla="*/ 1694402 w 3867150"/>
              <a:gd name="connsiteY159" fmla="*/ 338328 h 428625"/>
              <a:gd name="connsiteX160" fmla="*/ 1753362 w 3867150"/>
              <a:gd name="connsiteY160" fmla="*/ 338328 h 428625"/>
              <a:gd name="connsiteX161" fmla="*/ 1783747 w 3867150"/>
              <a:gd name="connsiteY161" fmla="*/ 188119 h 428625"/>
              <a:gd name="connsiteX162" fmla="*/ 1834134 w 3867150"/>
              <a:gd name="connsiteY162" fmla="*/ 140589 h 428625"/>
              <a:gd name="connsiteX163" fmla="*/ 1863566 w 3867150"/>
              <a:gd name="connsiteY163" fmla="*/ 171450 h 428625"/>
              <a:gd name="connsiteX164" fmla="*/ 1861661 w 3867150"/>
              <a:gd name="connsiteY164" fmla="*/ 187642 h 428625"/>
              <a:gd name="connsiteX165" fmla="*/ 1831277 w 3867150"/>
              <a:gd name="connsiteY165" fmla="*/ 338328 h 428625"/>
              <a:gd name="connsiteX166" fmla="*/ 1890141 w 3867150"/>
              <a:gd name="connsiteY166" fmla="*/ 338328 h 428625"/>
              <a:gd name="connsiteX167" fmla="*/ 1921002 w 3867150"/>
              <a:gd name="connsiteY167" fmla="*/ 183832 h 428625"/>
              <a:gd name="connsiteX168" fmla="*/ 1924431 w 3867150"/>
              <a:gd name="connsiteY168" fmla="*/ 156305 h 428625"/>
              <a:gd name="connsiteX169" fmla="*/ 1702022 w 3867150"/>
              <a:gd name="connsiteY169" fmla="*/ 953 h 428625"/>
              <a:gd name="connsiteX170" fmla="*/ 1641157 w 3867150"/>
              <a:gd name="connsiteY170" fmla="*/ 953 h 428625"/>
              <a:gd name="connsiteX171" fmla="*/ 1631632 w 3867150"/>
              <a:gd name="connsiteY171" fmla="*/ 49816 h 428625"/>
              <a:gd name="connsiteX172" fmla="*/ 1692021 w 3867150"/>
              <a:gd name="connsiteY172" fmla="*/ 49816 h 428625"/>
              <a:gd name="connsiteX173" fmla="*/ 1702022 w 3867150"/>
              <a:gd name="connsiteY173" fmla="*/ 953 h 428625"/>
              <a:gd name="connsiteX174" fmla="*/ 1682115 w 3867150"/>
              <a:gd name="connsiteY174" fmla="*/ 98393 h 428625"/>
              <a:gd name="connsiteX175" fmla="*/ 1623155 w 3867150"/>
              <a:gd name="connsiteY175" fmla="*/ 98393 h 428625"/>
              <a:gd name="connsiteX176" fmla="*/ 1575149 w 3867150"/>
              <a:gd name="connsiteY176" fmla="*/ 338423 h 428625"/>
              <a:gd name="connsiteX177" fmla="*/ 1634109 w 3867150"/>
              <a:gd name="connsiteY177" fmla="*/ 338423 h 428625"/>
              <a:gd name="connsiteX178" fmla="*/ 1682115 w 3867150"/>
              <a:gd name="connsiteY178" fmla="*/ 98393 h 428625"/>
              <a:gd name="connsiteX179" fmla="*/ 1592199 w 3867150"/>
              <a:gd name="connsiteY179" fmla="*/ 111252 h 428625"/>
              <a:gd name="connsiteX180" fmla="*/ 1539431 w 3867150"/>
              <a:gd name="connsiteY180" fmla="*/ 88011 h 428625"/>
              <a:gd name="connsiteX181" fmla="*/ 1476661 w 3867150"/>
              <a:gd name="connsiteY181" fmla="*/ 115062 h 428625"/>
              <a:gd name="connsiteX182" fmla="*/ 1481900 w 3867150"/>
              <a:gd name="connsiteY182" fmla="*/ 90869 h 428625"/>
              <a:gd name="connsiteX183" fmla="*/ 1424845 w 3867150"/>
              <a:gd name="connsiteY183" fmla="*/ 90869 h 428625"/>
              <a:gd name="connsiteX184" fmla="*/ 1375410 w 3867150"/>
              <a:gd name="connsiteY184" fmla="*/ 338423 h 428625"/>
              <a:gd name="connsiteX185" fmla="*/ 1434370 w 3867150"/>
              <a:gd name="connsiteY185" fmla="*/ 338423 h 428625"/>
              <a:gd name="connsiteX186" fmla="*/ 1464278 w 3867150"/>
              <a:gd name="connsiteY186" fmla="*/ 188690 h 428625"/>
              <a:gd name="connsiteX187" fmla="*/ 1514189 w 3867150"/>
              <a:gd name="connsiteY187" fmla="*/ 141161 h 428625"/>
              <a:gd name="connsiteX188" fmla="*/ 1541240 w 3867150"/>
              <a:gd name="connsiteY188" fmla="*/ 156400 h 428625"/>
              <a:gd name="connsiteX189" fmla="*/ 1592199 w 3867150"/>
              <a:gd name="connsiteY189" fmla="*/ 111252 h 428625"/>
              <a:gd name="connsiteX190" fmla="*/ 1298067 w 3867150"/>
              <a:gd name="connsiteY190" fmla="*/ 176308 h 428625"/>
              <a:gd name="connsiteX191" fmla="*/ 1296638 w 3867150"/>
              <a:gd name="connsiteY191" fmla="*/ 192977 h 428625"/>
              <a:gd name="connsiteX192" fmla="*/ 1205770 w 3867150"/>
              <a:gd name="connsiteY192" fmla="*/ 192977 h 428625"/>
              <a:gd name="connsiteX193" fmla="*/ 1262825 w 3867150"/>
              <a:gd name="connsiteY193" fmla="*/ 136303 h 428625"/>
              <a:gd name="connsiteX194" fmla="*/ 1298067 w 3867150"/>
              <a:gd name="connsiteY194" fmla="*/ 176308 h 428625"/>
              <a:gd name="connsiteX195" fmla="*/ 1354074 w 3867150"/>
              <a:gd name="connsiteY195" fmla="*/ 176308 h 428625"/>
              <a:gd name="connsiteX196" fmla="*/ 1266158 w 3867150"/>
              <a:gd name="connsiteY196" fmla="*/ 87916 h 428625"/>
              <a:gd name="connsiteX197" fmla="*/ 1140238 w 3867150"/>
              <a:gd name="connsiteY197" fmla="*/ 254222 h 428625"/>
              <a:gd name="connsiteX198" fmla="*/ 1231964 w 3867150"/>
              <a:gd name="connsiteY198" fmla="*/ 341186 h 428625"/>
              <a:gd name="connsiteX199" fmla="*/ 1328452 w 3867150"/>
              <a:gd name="connsiteY199" fmla="*/ 305086 h 428625"/>
              <a:gd name="connsiteX200" fmla="*/ 1297591 w 3867150"/>
              <a:gd name="connsiteY200" fmla="*/ 266129 h 428625"/>
              <a:gd name="connsiteX201" fmla="*/ 1238631 w 3867150"/>
              <a:gd name="connsiteY201" fmla="*/ 291370 h 428625"/>
              <a:gd name="connsiteX202" fmla="*/ 1196340 w 3867150"/>
              <a:gd name="connsiteY202" fmla="*/ 249936 h 428625"/>
              <a:gd name="connsiteX203" fmla="*/ 1198245 w 3867150"/>
              <a:gd name="connsiteY203" fmla="*/ 232315 h 428625"/>
              <a:gd name="connsiteX204" fmla="*/ 1346549 w 3867150"/>
              <a:gd name="connsiteY204" fmla="*/ 232315 h 428625"/>
              <a:gd name="connsiteX205" fmla="*/ 1354074 w 3867150"/>
              <a:gd name="connsiteY205" fmla="*/ 176308 h 428625"/>
              <a:gd name="connsiteX206" fmla="*/ 1054227 w 3867150"/>
              <a:gd name="connsiteY206" fmla="*/ 176308 h 428625"/>
              <a:gd name="connsiteX207" fmla="*/ 1052798 w 3867150"/>
              <a:gd name="connsiteY207" fmla="*/ 192977 h 428625"/>
              <a:gd name="connsiteX208" fmla="*/ 961930 w 3867150"/>
              <a:gd name="connsiteY208" fmla="*/ 192977 h 428625"/>
              <a:gd name="connsiteX209" fmla="*/ 1018984 w 3867150"/>
              <a:gd name="connsiteY209" fmla="*/ 136303 h 428625"/>
              <a:gd name="connsiteX210" fmla="*/ 1054227 w 3867150"/>
              <a:gd name="connsiteY210" fmla="*/ 176308 h 428625"/>
              <a:gd name="connsiteX211" fmla="*/ 1110234 w 3867150"/>
              <a:gd name="connsiteY211" fmla="*/ 176308 h 428625"/>
              <a:gd name="connsiteX212" fmla="*/ 1022318 w 3867150"/>
              <a:gd name="connsiteY212" fmla="*/ 87916 h 428625"/>
              <a:gd name="connsiteX213" fmla="*/ 896398 w 3867150"/>
              <a:gd name="connsiteY213" fmla="*/ 254222 h 428625"/>
              <a:gd name="connsiteX214" fmla="*/ 988124 w 3867150"/>
              <a:gd name="connsiteY214" fmla="*/ 341186 h 428625"/>
              <a:gd name="connsiteX215" fmla="*/ 1084612 w 3867150"/>
              <a:gd name="connsiteY215" fmla="*/ 305086 h 428625"/>
              <a:gd name="connsiteX216" fmla="*/ 1053751 w 3867150"/>
              <a:gd name="connsiteY216" fmla="*/ 266129 h 428625"/>
              <a:gd name="connsiteX217" fmla="*/ 994791 w 3867150"/>
              <a:gd name="connsiteY217" fmla="*/ 291370 h 428625"/>
              <a:gd name="connsiteX218" fmla="*/ 952500 w 3867150"/>
              <a:gd name="connsiteY218" fmla="*/ 249936 h 428625"/>
              <a:gd name="connsiteX219" fmla="*/ 954405 w 3867150"/>
              <a:gd name="connsiteY219" fmla="*/ 232315 h 428625"/>
              <a:gd name="connsiteX220" fmla="*/ 1102709 w 3867150"/>
              <a:gd name="connsiteY220" fmla="*/ 232315 h 428625"/>
              <a:gd name="connsiteX221" fmla="*/ 1110234 w 3867150"/>
              <a:gd name="connsiteY221" fmla="*/ 176308 h 428625"/>
              <a:gd name="connsiteX222" fmla="*/ 863537 w 3867150"/>
              <a:gd name="connsiteY222" fmla="*/ 156305 h 428625"/>
              <a:gd name="connsiteX223" fmla="*/ 800386 w 3867150"/>
              <a:gd name="connsiteY223" fmla="*/ 87916 h 428625"/>
              <a:gd name="connsiteX224" fmla="*/ 735235 w 3867150"/>
              <a:gd name="connsiteY224" fmla="*/ 114490 h 428625"/>
              <a:gd name="connsiteX225" fmla="*/ 739521 w 3867150"/>
              <a:gd name="connsiteY225" fmla="*/ 90773 h 428625"/>
              <a:gd name="connsiteX226" fmla="*/ 682943 w 3867150"/>
              <a:gd name="connsiteY226" fmla="*/ 90773 h 428625"/>
              <a:gd name="connsiteX227" fmla="*/ 633508 w 3867150"/>
              <a:gd name="connsiteY227" fmla="*/ 338328 h 428625"/>
              <a:gd name="connsiteX228" fmla="*/ 692468 w 3867150"/>
              <a:gd name="connsiteY228" fmla="*/ 338328 h 428625"/>
              <a:gd name="connsiteX229" fmla="*/ 722852 w 3867150"/>
              <a:gd name="connsiteY229" fmla="*/ 188119 h 428625"/>
              <a:gd name="connsiteX230" fmla="*/ 773240 w 3867150"/>
              <a:gd name="connsiteY230" fmla="*/ 140589 h 428625"/>
              <a:gd name="connsiteX231" fmla="*/ 802672 w 3867150"/>
              <a:gd name="connsiteY231" fmla="*/ 171450 h 428625"/>
              <a:gd name="connsiteX232" fmla="*/ 800767 w 3867150"/>
              <a:gd name="connsiteY232" fmla="*/ 187642 h 428625"/>
              <a:gd name="connsiteX233" fmla="*/ 770382 w 3867150"/>
              <a:gd name="connsiteY233" fmla="*/ 338328 h 428625"/>
              <a:gd name="connsiteX234" fmla="*/ 829247 w 3867150"/>
              <a:gd name="connsiteY234" fmla="*/ 338328 h 428625"/>
              <a:gd name="connsiteX235" fmla="*/ 860108 w 3867150"/>
              <a:gd name="connsiteY235" fmla="*/ 183832 h 428625"/>
              <a:gd name="connsiteX236" fmla="*/ 863537 w 3867150"/>
              <a:gd name="connsiteY236" fmla="*/ 156305 h 428625"/>
              <a:gd name="connsiteX237" fmla="*/ 553688 w 3867150"/>
              <a:gd name="connsiteY237" fmla="*/ 176308 h 428625"/>
              <a:gd name="connsiteX238" fmla="*/ 548450 w 3867150"/>
              <a:gd name="connsiteY238" fmla="*/ 214313 h 428625"/>
              <a:gd name="connsiteX239" fmla="*/ 523208 w 3867150"/>
              <a:gd name="connsiteY239" fmla="*/ 276130 h 428625"/>
              <a:gd name="connsiteX240" fmla="*/ 492824 w 3867150"/>
              <a:gd name="connsiteY240" fmla="*/ 288512 h 428625"/>
              <a:gd name="connsiteX241" fmla="*/ 461391 w 3867150"/>
              <a:gd name="connsiteY241" fmla="*/ 252889 h 428625"/>
              <a:gd name="connsiteX242" fmla="*/ 466630 w 3867150"/>
              <a:gd name="connsiteY242" fmla="*/ 214408 h 428625"/>
              <a:gd name="connsiteX243" fmla="*/ 491871 w 3867150"/>
              <a:gd name="connsiteY243" fmla="*/ 153067 h 428625"/>
              <a:gd name="connsiteX244" fmla="*/ 522351 w 3867150"/>
              <a:gd name="connsiteY244" fmla="*/ 140684 h 428625"/>
              <a:gd name="connsiteX245" fmla="*/ 553688 w 3867150"/>
              <a:gd name="connsiteY245" fmla="*/ 176308 h 428625"/>
              <a:gd name="connsiteX246" fmla="*/ 612172 w 3867150"/>
              <a:gd name="connsiteY246" fmla="*/ 169640 h 428625"/>
              <a:gd name="connsiteX247" fmla="*/ 528542 w 3867150"/>
              <a:gd name="connsiteY247" fmla="*/ 87916 h 428625"/>
              <a:gd name="connsiteX248" fmla="*/ 452438 w 3867150"/>
              <a:gd name="connsiteY248" fmla="*/ 116396 h 428625"/>
              <a:gd name="connsiteX249" fmla="*/ 408242 w 3867150"/>
              <a:gd name="connsiteY249" fmla="*/ 214313 h 428625"/>
              <a:gd name="connsiteX250" fmla="*/ 403003 w 3867150"/>
              <a:gd name="connsiteY250" fmla="*/ 259461 h 428625"/>
              <a:gd name="connsiteX251" fmla="*/ 487109 w 3867150"/>
              <a:gd name="connsiteY251" fmla="*/ 341186 h 428625"/>
              <a:gd name="connsiteX252" fmla="*/ 563213 w 3867150"/>
              <a:gd name="connsiteY252" fmla="*/ 312706 h 428625"/>
              <a:gd name="connsiteX253" fmla="*/ 607409 w 3867150"/>
              <a:gd name="connsiteY253" fmla="*/ 214313 h 428625"/>
              <a:gd name="connsiteX254" fmla="*/ 612172 w 3867150"/>
              <a:gd name="connsiteY254" fmla="*/ 169640 h 428625"/>
              <a:gd name="connsiteX255" fmla="*/ 401098 w 3867150"/>
              <a:gd name="connsiteY255" fmla="*/ 953 h 428625"/>
              <a:gd name="connsiteX256" fmla="*/ 340233 w 3867150"/>
              <a:gd name="connsiteY256" fmla="*/ 953 h 428625"/>
              <a:gd name="connsiteX257" fmla="*/ 330708 w 3867150"/>
              <a:gd name="connsiteY257" fmla="*/ 49816 h 428625"/>
              <a:gd name="connsiteX258" fmla="*/ 391096 w 3867150"/>
              <a:gd name="connsiteY258" fmla="*/ 49816 h 428625"/>
              <a:gd name="connsiteX259" fmla="*/ 401098 w 3867150"/>
              <a:gd name="connsiteY259" fmla="*/ 953 h 428625"/>
              <a:gd name="connsiteX260" fmla="*/ 381191 w 3867150"/>
              <a:gd name="connsiteY260" fmla="*/ 98393 h 428625"/>
              <a:gd name="connsiteX261" fmla="*/ 322231 w 3867150"/>
              <a:gd name="connsiteY261" fmla="*/ 98393 h 428625"/>
              <a:gd name="connsiteX262" fmla="*/ 274225 w 3867150"/>
              <a:gd name="connsiteY262" fmla="*/ 338423 h 428625"/>
              <a:gd name="connsiteX263" fmla="*/ 333184 w 3867150"/>
              <a:gd name="connsiteY263" fmla="*/ 338423 h 428625"/>
              <a:gd name="connsiteX264" fmla="*/ 381191 w 3867150"/>
              <a:gd name="connsiteY264" fmla="*/ 98393 h 428625"/>
              <a:gd name="connsiteX265" fmla="*/ 215741 w 3867150"/>
              <a:gd name="connsiteY265" fmla="*/ 94583 h 428625"/>
              <a:gd name="connsiteX266" fmla="*/ 156305 w 3867150"/>
              <a:gd name="connsiteY266" fmla="*/ 151638 h 428625"/>
              <a:gd name="connsiteX267" fmla="*/ 100203 w 3867150"/>
              <a:gd name="connsiteY267" fmla="*/ 151638 h 428625"/>
              <a:gd name="connsiteX268" fmla="*/ 119729 w 3867150"/>
              <a:gd name="connsiteY268" fmla="*/ 55531 h 428625"/>
              <a:gd name="connsiteX269" fmla="*/ 177737 w 3867150"/>
              <a:gd name="connsiteY269" fmla="*/ 55531 h 428625"/>
              <a:gd name="connsiteX270" fmla="*/ 215741 w 3867150"/>
              <a:gd name="connsiteY270" fmla="*/ 94583 h 428625"/>
              <a:gd name="connsiteX271" fmla="*/ 278987 w 3867150"/>
              <a:gd name="connsiteY271" fmla="*/ 89345 h 428625"/>
              <a:gd name="connsiteX272" fmla="*/ 188214 w 3867150"/>
              <a:gd name="connsiteY272" fmla="*/ 0 h 428625"/>
              <a:gd name="connsiteX273" fmla="*/ 68008 w 3867150"/>
              <a:gd name="connsiteY273" fmla="*/ 0 h 428625"/>
              <a:gd name="connsiteX274" fmla="*/ 0 w 3867150"/>
              <a:gd name="connsiteY274" fmla="*/ 338328 h 428625"/>
              <a:gd name="connsiteX275" fmla="*/ 62770 w 3867150"/>
              <a:gd name="connsiteY275" fmla="*/ 338328 h 428625"/>
              <a:gd name="connsiteX276" fmla="*/ 88868 w 3867150"/>
              <a:gd name="connsiteY276" fmla="*/ 207169 h 428625"/>
              <a:gd name="connsiteX277" fmla="*/ 154019 w 3867150"/>
              <a:gd name="connsiteY277" fmla="*/ 207169 h 428625"/>
              <a:gd name="connsiteX278" fmla="*/ 278987 w 3867150"/>
              <a:gd name="connsiteY278" fmla="*/ 8934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3867150" h="428625">
                <a:moveTo>
                  <a:pt x="3869817" y="118300"/>
                </a:moveTo>
                <a:cubicBezTo>
                  <a:pt x="3848481" y="96488"/>
                  <a:pt x="3822764" y="87916"/>
                  <a:pt x="3787617" y="87916"/>
                </a:cubicBezTo>
                <a:cubicBezTo>
                  <a:pt x="3752374" y="87916"/>
                  <a:pt x="3723894" y="97917"/>
                  <a:pt x="3705416" y="116396"/>
                </a:cubicBezTo>
                <a:cubicBezTo>
                  <a:pt x="3688842" y="132969"/>
                  <a:pt x="3680270" y="155353"/>
                  <a:pt x="3680270" y="178213"/>
                </a:cubicBezTo>
                <a:cubicBezTo>
                  <a:pt x="3680270" y="201549"/>
                  <a:pt x="3694462" y="226695"/>
                  <a:pt x="3739610" y="234315"/>
                </a:cubicBezTo>
                <a:lnTo>
                  <a:pt x="3771995" y="239554"/>
                </a:lnTo>
                <a:cubicBezTo>
                  <a:pt x="3786283" y="241935"/>
                  <a:pt x="3795332" y="246697"/>
                  <a:pt x="3795332" y="260032"/>
                </a:cubicBezTo>
                <a:cubicBezTo>
                  <a:pt x="3795332" y="274796"/>
                  <a:pt x="3778663" y="290894"/>
                  <a:pt x="3744944" y="290894"/>
                </a:cubicBezTo>
                <a:cubicBezTo>
                  <a:pt x="3716941" y="290894"/>
                  <a:pt x="3700272" y="281369"/>
                  <a:pt x="3687985" y="267081"/>
                </a:cubicBezTo>
                <a:lnTo>
                  <a:pt x="3645694" y="304133"/>
                </a:lnTo>
                <a:cubicBezTo>
                  <a:pt x="3667601" y="327850"/>
                  <a:pt x="3697034" y="341186"/>
                  <a:pt x="3741135" y="341186"/>
                </a:cubicBezTo>
                <a:cubicBezTo>
                  <a:pt x="3773043" y="341186"/>
                  <a:pt x="3807238" y="333565"/>
                  <a:pt x="3827145" y="314134"/>
                </a:cubicBezTo>
                <a:cubicBezTo>
                  <a:pt x="3843338" y="298513"/>
                  <a:pt x="3853720" y="278987"/>
                  <a:pt x="3853720" y="254222"/>
                </a:cubicBezTo>
                <a:cubicBezTo>
                  <a:pt x="3853720" y="220028"/>
                  <a:pt x="3838004" y="197167"/>
                  <a:pt x="3793903" y="190024"/>
                </a:cubicBezTo>
                <a:lnTo>
                  <a:pt x="3761994" y="184785"/>
                </a:lnTo>
                <a:cubicBezTo>
                  <a:pt x="3746754" y="182404"/>
                  <a:pt x="3739134" y="176689"/>
                  <a:pt x="3739134" y="166211"/>
                </a:cubicBezTo>
                <a:cubicBezTo>
                  <a:pt x="3739134" y="150971"/>
                  <a:pt x="3752469" y="136303"/>
                  <a:pt x="3782377" y="136303"/>
                </a:cubicBezTo>
                <a:cubicBezTo>
                  <a:pt x="3799999" y="136303"/>
                  <a:pt x="3818001" y="142018"/>
                  <a:pt x="3829431" y="153924"/>
                </a:cubicBezTo>
                <a:lnTo>
                  <a:pt x="3869817" y="118300"/>
                </a:lnTo>
                <a:close/>
                <a:moveTo>
                  <a:pt x="3661220" y="122111"/>
                </a:moveTo>
                <a:cubicBezTo>
                  <a:pt x="3646456" y="103156"/>
                  <a:pt x="3624644" y="87916"/>
                  <a:pt x="3588544" y="87916"/>
                </a:cubicBezTo>
                <a:cubicBezTo>
                  <a:pt x="3538157" y="87916"/>
                  <a:pt x="3481197" y="113538"/>
                  <a:pt x="3462623" y="214313"/>
                </a:cubicBezTo>
                <a:cubicBezTo>
                  <a:pt x="3460242" y="227171"/>
                  <a:pt x="3458813" y="240982"/>
                  <a:pt x="3458813" y="252794"/>
                </a:cubicBezTo>
                <a:cubicBezTo>
                  <a:pt x="3458813" y="311277"/>
                  <a:pt x="3500628" y="341186"/>
                  <a:pt x="3547586" y="341186"/>
                </a:cubicBezTo>
                <a:cubicBezTo>
                  <a:pt x="3579400" y="341186"/>
                  <a:pt x="3608451" y="329279"/>
                  <a:pt x="3629311" y="309848"/>
                </a:cubicBezTo>
                <a:lnTo>
                  <a:pt x="3596545" y="267557"/>
                </a:lnTo>
                <a:cubicBezTo>
                  <a:pt x="3582734" y="281369"/>
                  <a:pt x="3569875" y="288512"/>
                  <a:pt x="3553301" y="288512"/>
                </a:cubicBezTo>
                <a:cubicBezTo>
                  <a:pt x="3530441" y="288512"/>
                  <a:pt x="3518154" y="272320"/>
                  <a:pt x="3518154" y="246221"/>
                </a:cubicBezTo>
                <a:cubicBezTo>
                  <a:pt x="3518154" y="234791"/>
                  <a:pt x="3519583" y="225266"/>
                  <a:pt x="3521488" y="214313"/>
                </a:cubicBezTo>
                <a:cubicBezTo>
                  <a:pt x="3525774" y="190976"/>
                  <a:pt x="3534823" y="169640"/>
                  <a:pt x="3547586" y="156305"/>
                </a:cubicBezTo>
                <a:cubicBezTo>
                  <a:pt x="3558064" y="145352"/>
                  <a:pt x="3569970" y="140589"/>
                  <a:pt x="3582734" y="140589"/>
                </a:cubicBezTo>
                <a:cubicBezTo>
                  <a:pt x="3597497" y="140589"/>
                  <a:pt x="3607499" y="148209"/>
                  <a:pt x="3616928" y="161068"/>
                </a:cubicBezTo>
                <a:lnTo>
                  <a:pt x="3661220" y="122111"/>
                </a:lnTo>
                <a:close/>
                <a:moveTo>
                  <a:pt x="3456813" y="953"/>
                </a:moveTo>
                <a:lnTo>
                  <a:pt x="3395948" y="953"/>
                </a:lnTo>
                <a:lnTo>
                  <a:pt x="3386423" y="49816"/>
                </a:lnTo>
                <a:lnTo>
                  <a:pt x="3446812" y="49816"/>
                </a:lnTo>
                <a:lnTo>
                  <a:pt x="3456813" y="953"/>
                </a:lnTo>
                <a:close/>
                <a:moveTo>
                  <a:pt x="3436906" y="98393"/>
                </a:moveTo>
                <a:lnTo>
                  <a:pt x="3377946" y="98393"/>
                </a:lnTo>
                <a:lnTo>
                  <a:pt x="3329940" y="338423"/>
                </a:lnTo>
                <a:lnTo>
                  <a:pt x="3388900" y="338423"/>
                </a:lnTo>
                <a:lnTo>
                  <a:pt x="3436906" y="98393"/>
                </a:lnTo>
                <a:close/>
                <a:moveTo>
                  <a:pt x="3328035" y="98393"/>
                </a:moveTo>
                <a:lnTo>
                  <a:pt x="3287173" y="98393"/>
                </a:lnTo>
                <a:lnTo>
                  <a:pt x="3301937" y="24289"/>
                </a:lnTo>
                <a:lnTo>
                  <a:pt x="3242977" y="24289"/>
                </a:lnTo>
                <a:lnTo>
                  <a:pt x="3228213" y="98393"/>
                </a:lnTo>
                <a:lnTo>
                  <a:pt x="3203067" y="98393"/>
                </a:lnTo>
                <a:lnTo>
                  <a:pt x="3194019" y="142970"/>
                </a:lnTo>
                <a:lnTo>
                  <a:pt x="3219164" y="142970"/>
                </a:lnTo>
                <a:lnTo>
                  <a:pt x="3194971" y="264223"/>
                </a:lnTo>
                <a:cubicBezTo>
                  <a:pt x="3194019" y="269462"/>
                  <a:pt x="3193066" y="276130"/>
                  <a:pt x="3193066" y="284702"/>
                </a:cubicBezTo>
                <a:cubicBezTo>
                  <a:pt x="3193066" y="318421"/>
                  <a:pt x="3218688" y="338328"/>
                  <a:pt x="3252883" y="338328"/>
                </a:cubicBezTo>
                <a:lnTo>
                  <a:pt x="3283268" y="338328"/>
                </a:lnTo>
                <a:lnTo>
                  <a:pt x="3293269" y="288988"/>
                </a:lnTo>
                <a:lnTo>
                  <a:pt x="3271933" y="288988"/>
                </a:lnTo>
                <a:cubicBezTo>
                  <a:pt x="3259074" y="288988"/>
                  <a:pt x="3252883" y="283750"/>
                  <a:pt x="3252883" y="273748"/>
                </a:cubicBezTo>
                <a:cubicBezTo>
                  <a:pt x="3252883" y="271367"/>
                  <a:pt x="3252883" y="269462"/>
                  <a:pt x="3253836" y="264700"/>
                </a:cubicBezTo>
                <a:lnTo>
                  <a:pt x="3278029" y="142970"/>
                </a:lnTo>
                <a:lnTo>
                  <a:pt x="3318891" y="142970"/>
                </a:lnTo>
                <a:lnTo>
                  <a:pt x="3328035" y="98393"/>
                </a:lnTo>
                <a:close/>
                <a:moveTo>
                  <a:pt x="3163062" y="118300"/>
                </a:moveTo>
                <a:cubicBezTo>
                  <a:pt x="3141726" y="96488"/>
                  <a:pt x="3116009" y="87916"/>
                  <a:pt x="3080861" y="87916"/>
                </a:cubicBezTo>
                <a:cubicBezTo>
                  <a:pt x="3045619" y="87916"/>
                  <a:pt x="3017139" y="97917"/>
                  <a:pt x="2998565" y="116396"/>
                </a:cubicBezTo>
                <a:cubicBezTo>
                  <a:pt x="2981992" y="132969"/>
                  <a:pt x="2973420" y="155353"/>
                  <a:pt x="2973420" y="178213"/>
                </a:cubicBezTo>
                <a:cubicBezTo>
                  <a:pt x="2973420" y="201549"/>
                  <a:pt x="2987707" y="226695"/>
                  <a:pt x="3032760" y="234315"/>
                </a:cubicBezTo>
                <a:lnTo>
                  <a:pt x="3065145" y="239554"/>
                </a:lnTo>
                <a:cubicBezTo>
                  <a:pt x="3079433" y="241935"/>
                  <a:pt x="3088481" y="246697"/>
                  <a:pt x="3088481" y="260032"/>
                </a:cubicBezTo>
                <a:cubicBezTo>
                  <a:pt x="3088481" y="274796"/>
                  <a:pt x="3071813" y="290894"/>
                  <a:pt x="3037999" y="290894"/>
                </a:cubicBezTo>
                <a:cubicBezTo>
                  <a:pt x="3009995" y="290894"/>
                  <a:pt x="2993327" y="281369"/>
                  <a:pt x="2981039" y="267081"/>
                </a:cubicBezTo>
                <a:lnTo>
                  <a:pt x="2938748" y="304133"/>
                </a:lnTo>
                <a:cubicBezTo>
                  <a:pt x="2960656" y="327850"/>
                  <a:pt x="2990088" y="341186"/>
                  <a:pt x="3034189" y="341186"/>
                </a:cubicBezTo>
                <a:cubicBezTo>
                  <a:pt x="3066098" y="341186"/>
                  <a:pt x="3100292" y="333565"/>
                  <a:pt x="3120295" y="314134"/>
                </a:cubicBezTo>
                <a:cubicBezTo>
                  <a:pt x="3136392" y="298513"/>
                  <a:pt x="3146870" y="278987"/>
                  <a:pt x="3146870" y="254222"/>
                </a:cubicBezTo>
                <a:cubicBezTo>
                  <a:pt x="3146870" y="220028"/>
                  <a:pt x="3131153" y="197167"/>
                  <a:pt x="3087053" y="190024"/>
                </a:cubicBezTo>
                <a:lnTo>
                  <a:pt x="3055144" y="184785"/>
                </a:lnTo>
                <a:cubicBezTo>
                  <a:pt x="3039904" y="182404"/>
                  <a:pt x="3032284" y="176689"/>
                  <a:pt x="3032284" y="166211"/>
                </a:cubicBezTo>
                <a:cubicBezTo>
                  <a:pt x="3032284" y="150971"/>
                  <a:pt x="3045619" y="136303"/>
                  <a:pt x="3075623" y="136303"/>
                </a:cubicBezTo>
                <a:cubicBezTo>
                  <a:pt x="3093244" y="136303"/>
                  <a:pt x="3111246" y="142018"/>
                  <a:pt x="3122676" y="153924"/>
                </a:cubicBezTo>
                <a:lnTo>
                  <a:pt x="3163062" y="118300"/>
                </a:lnTo>
                <a:close/>
                <a:moveTo>
                  <a:pt x="2858453" y="231934"/>
                </a:moveTo>
                <a:lnTo>
                  <a:pt x="2855595" y="246697"/>
                </a:lnTo>
                <a:cubicBezTo>
                  <a:pt x="2853214" y="259080"/>
                  <a:pt x="2848451" y="270415"/>
                  <a:pt x="2840831" y="278035"/>
                </a:cubicBezTo>
                <a:cubicBezTo>
                  <a:pt x="2831783" y="287083"/>
                  <a:pt x="2818448" y="293275"/>
                  <a:pt x="2802350" y="293275"/>
                </a:cubicBezTo>
                <a:cubicBezTo>
                  <a:pt x="2780919" y="293275"/>
                  <a:pt x="2770918" y="283750"/>
                  <a:pt x="2770918" y="269938"/>
                </a:cubicBezTo>
                <a:cubicBezTo>
                  <a:pt x="2770918" y="248031"/>
                  <a:pt x="2786634" y="231838"/>
                  <a:pt x="2813209" y="231838"/>
                </a:cubicBezTo>
                <a:lnTo>
                  <a:pt x="2858453" y="231838"/>
                </a:lnTo>
                <a:close/>
                <a:moveTo>
                  <a:pt x="2930652" y="156877"/>
                </a:moveTo>
                <a:cubicBezTo>
                  <a:pt x="2930652" y="104108"/>
                  <a:pt x="2884075" y="88011"/>
                  <a:pt x="2842736" y="88011"/>
                </a:cubicBezTo>
                <a:cubicBezTo>
                  <a:pt x="2796636" y="88011"/>
                  <a:pt x="2770918" y="100870"/>
                  <a:pt x="2751011" y="121253"/>
                </a:cubicBezTo>
                <a:lnTo>
                  <a:pt x="2781395" y="160687"/>
                </a:lnTo>
                <a:cubicBezTo>
                  <a:pt x="2793778" y="146875"/>
                  <a:pt x="2810447" y="137350"/>
                  <a:pt x="2834640" y="137350"/>
                </a:cubicBezTo>
                <a:cubicBezTo>
                  <a:pt x="2859405" y="137350"/>
                  <a:pt x="2871311" y="147352"/>
                  <a:pt x="2871311" y="164021"/>
                </a:cubicBezTo>
                <a:cubicBezTo>
                  <a:pt x="2871311" y="168783"/>
                  <a:pt x="2870835" y="172117"/>
                  <a:pt x="2869883" y="176879"/>
                </a:cubicBezTo>
                <a:lnTo>
                  <a:pt x="2866549" y="191643"/>
                </a:lnTo>
                <a:lnTo>
                  <a:pt x="2807589" y="191643"/>
                </a:lnTo>
                <a:cubicBezTo>
                  <a:pt x="2779014" y="191643"/>
                  <a:pt x="2753868" y="199263"/>
                  <a:pt x="2735390" y="217265"/>
                </a:cubicBezTo>
                <a:cubicBezTo>
                  <a:pt x="2721102" y="231457"/>
                  <a:pt x="2713101" y="251460"/>
                  <a:pt x="2713101" y="275749"/>
                </a:cubicBezTo>
                <a:cubicBezTo>
                  <a:pt x="2713101" y="313277"/>
                  <a:pt x="2740628" y="340805"/>
                  <a:pt x="2783872" y="340805"/>
                </a:cubicBezTo>
                <a:cubicBezTo>
                  <a:pt x="2811018" y="340805"/>
                  <a:pt x="2829973" y="330327"/>
                  <a:pt x="2843784" y="316611"/>
                </a:cubicBezTo>
                <a:lnTo>
                  <a:pt x="2839498" y="338423"/>
                </a:lnTo>
                <a:lnTo>
                  <a:pt x="2896076" y="338423"/>
                </a:lnTo>
                <a:lnTo>
                  <a:pt x="2928366" y="178784"/>
                </a:lnTo>
                <a:cubicBezTo>
                  <a:pt x="2929700" y="172021"/>
                  <a:pt x="2930652" y="163544"/>
                  <a:pt x="2930652" y="156877"/>
                </a:cubicBezTo>
                <a:moveTo>
                  <a:pt x="2697766" y="0"/>
                </a:moveTo>
                <a:lnTo>
                  <a:pt x="2638806" y="0"/>
                </a:lnTo>
                <a:lnTo>
                  <a:pt x="2586133" y="264223"/>
                </a:lnTo>
                <a:cubicBezTo>
                  <a:pt x="2584704" y="270891"/>
                  <a:pt x="2584228" y="277082"/>
                  <a:pt x="2584228" y="284702"/>
                </a:cubicBezTo>
                <a:cubicBezTo>
                  <a:pt x="2584228" y="318421"/>
                  <a:pt x="2609374" y="338328"/>
                  <a:pt x="2643569" y="338328"/>
                </a:cubicBezTo>
                <a:lnTo>
                  <a:pt x="2675858" y="338328"/>
                </a:lnTo>
                <a:lnTo>
                  <a:pt x="2685860" y="288512"/>
                </a:lnTo>
                <a:lnTo>
                  <a:pt x="2661666" y="288512"/>
                </a:lnTo>
                <a:cubicBezTo>
                  <a:pt x="2648807" y="288512"/>
                  <a:pt x="2643569" y="283273"/>
                  <a:pt x="2643569" y="274225"/>
                </a:cubicBezTo>
                <a:cubicBezTo>
                  <a:pt x="2643569" y="270415"/>
                  <a:pt x="2644045" y="268033"/>
                  <a:pt x="2644997" y="263747"/>
                </a:cubicBezTo>
                <a:lnTo>
                  <a:pt x="2697766" y="0"/>
                </a:lnTo>
                <a:close/>
                <a:moveTo>
                  <a:pt x="2514791" y="94583"/>
                </a:moveTo>
                <a:cubicBezTo>
                  <a:pt x="2514791" y="120301"/>
                  <a:pt x="2496217" y="151638"/>
                  <a:pt x="2455355" y="151638"/>
                </a:cubicBezTo>
                <a:lnTo>
                  <a:pt x="2399253" y="151638"/>
                </a:lnTo>
                <a:lnTo>
                  <a:pt x="2418779" y="55531"/>
                </a:lnTo>
                <a:lnTo>
                  <a:pt x="2476786" y="55531"/>
                </a:lnTo>
                <a:cubicBezTo>
                  <a:pt x="2504885" y="55531"/>
                  <a:pt x="2514791" y="73152"/>
                  <a:pt x="2514791" y="94583"/>
                </a:cubicBezTo>
                <a:moveTo>
                  <a:pt x="2578037" y="89345"/>
                </a:moveTo>
                <a:cubicBezTo>
                  <a:pt x="2578037" y="36576"/>
                  <a:pt x="2544795" y="0"/>
                  <a:pt x="2487359" y="0"/>
                </a:cubicBezTo>
                <a:lnTo>
                  <a:pt x="2367058" y="0"/>
                </a:lnTo>
                <a:lnTo>
                  <a:pt x="2299049" y="338328"/>
                </a:lnTo>
                <a:lnTo>
                  <a:pt x="2361819" y="338328"/>
                </a:lnTo>
                <a:lnTo>
                  <a:pt x="2387918" y="207169"/>
                </a:lnTo>
                <a:lnTo>
                  <a:pt x="2453069" y="207169"/>
                </a:lnTo>
                <a:cubicBezTo>
                  <a:pt x="2534317" y="207169"/>
                  <a:pt x="2578037" y="149733"/>
                  <a:pt x="2578037" y="89345"/>
                </a:cubicBezTo>
                <a:moveTo>
                  <a:pt x="2105501" y="173546"/>
                </a:moveTo>
                <a:cubicBezTo>
                  <a:pt x="2105501" y="181165"/>
                  <a:pt x="2104073" y="192596"/>
                  <a:pt x="2101215" y="207740"/>
                </a:cubicBezTo>
                <a:cubicBezTo>
                  <a:pt x="2092643" y="252413"/>
                  <a:pt x="2079307" y="275272"/>
                  <a:pt x="2048923" y="275272"/>
                </a:cubicBezTo>
                <a:cubicBezTo>
                  <a:pt x="2027111" y="275272"/>
                  <a:pt x="2019490" y="260985"/>
                  <a:pt x="2019490" y="242506"/>
                </a:cubicBezTo>
                <a:cubicBezTo>
                  <a:pt x="2019490" y="234887"/>
                  <a:pt x="2020919" y="223456"/>
                  <a:pt x="2023777" y="208312"/>
                </a:cubicBezTo>
                <a:cubicBezTo>
                  <a:pt x="2032349" y="163639"/>
                  <a:pt x="2045589" y="140779"/>
                  <a:pt x="2076069" y="140779"/>
                </a:cubicBezTo>
                <a:cubicBezTo>
                  <a:pt x="2096072" y="140684"/>
                  <a:pt x="2105501" y="152971"/>
                  <a:pt x="2105501" y="173546"/>
                </a:cubicBezTo>
                <a:lnTo>
                  <a:pt x="2105501" y="173546"/>
                </a:lnTo>
                <a:close/>
                <a:moveTo>
                  <a:pt x="2183035" y="90773"/>
                </a:moveTo>
                <a:lnTo>
                  <a:pt x="2125980" y="90773"/>
                </a:lnTo>
                <a:lnTo>
                  <a:pt x="2121218" y="115919"/>
                </a:lnTo>
                <a:cubicBezTo>
                  <a:pt x="2109788" y="97346"/>
                  <a:pt x="2090833" y="87821"/>
                  <a:pt x="2065115" y="87821"/>
                </a:cubicBezTo>
                <a:cubicBezTo>
                  <a:pt x="2042827" y="87821"/>
                  <a:pt x="2020443" y="94012"/>
                  <a:pt x="2001964" y="112490"/>
                </a:cubicBezTo>
                <a:cubicBezTo>
                  <a:pt x="1983010" y="131445"/>
                  <a:pt x="1973485" y="160020"/>
                  <a:pt x="1964912" y="207550"/>
                </a:cubicBezTo>
                <a:cubicBezTo>
                  <a:pt x="1961102" y="228505"/>
                  <a:pt x="1958721" y="246031"/>
                  <a:pt x="1958721" y="257937"/>
                </a:cubicBezTo>
                <a:cubicBezTo>
                  <a:pt x="1958721" y="304514"/>
                  <a:pt x="1990535" y="327755"/>
                  <a:pt x="2027111" y="327755"/>
                </a:cubicBezTo>
                <a:cubicBezTo>
                  <a:pt x="2051876" y="327755"/>
                  <a:pt x="2069402" y="318230"/>
                  <a:pt x="2082260" y="303086"/>
                </a:cubicBezTo>
                <a:lnTo>
                  <a:pt x="2077022" y="328231"/>
                </a:lnTo>
                <a:cubicBezTo>
                  <a:pt x="2070354" y="360140"/>
                  <a:pt x="2049494" y="381953"/>
                  <a:pt x="2016633" y="381953"/>
                </a:cubicBezTo>
                <a:cubicBezTo>
                  <a:pt x="1993392" y="381953"/>
                  <a:pt x="1982914" y="370999"/>
                  <a:pt x="1975295" y="362426"/>
                </a:cubicBezTo>
                <a:lnTo>
                  <a:pt x="1934432" y="398050"/>
                </a:lnTo>
                <a:cubicBezTo>
                  <a:pt x="1955387" y="421767"/>
                  <a:pt x="1980533" y="431768"/>
                  <a:pt x="2016633" y="431768"/>
                </a:cubicBezTo>
                <a:cubicBezTo>
                  <a:pt x="2073688" y="431768"/>
                  <a:pt x="2121218" y="400907"/>
                  <a:pt x="2135505" y="328613"/>
                </a:cubicBezTo>
                <a:lnTo>
                  <a:pt x="2183035" y="90773"/>
                </a:lnTo>
                <a:close/>
                <a:moveTo>
                  <a:pt x="1924431" y="156305"/>
                </a:moveTo>
                <a:cubicBezTo>
                  <a:pt x="1924431" y="107347"/>
                  <a:pt x="1890236" y="87916"/>
                  <a:pt x="1861280" y="87916"/>
                </a:cubicBezTo>
                <a:cubicBezTo>
                  <a:pt x="1835563" y="87916"/>
                  <a:pt x="1811846" y="97441"/>
                  <a:pt x="1796129" y="114490"/>
                </a:cubicBezTo>
                <a:lnTo>
                  <a:pt x="1800415" y="90773"/>
                </a:lnTo>
                <a:lnTo>
                  <a:pt x="1743837" y="90773"/>
                </a:lnTo>
                <a:lnTo>
                  <a:pt x="1694402" y="338328"/>
                </a:lnTo>
                <a:lnTo>
                  <a:pt x="1753362" y="338328"/>
                </a:lnTo>
                <a:lnTo>
                  <a:pt x="1783747" y="188119"/>
                </a:lnTo>
                <a:cubicBezTo>
                  <a:pt x="1791367" y="149066"/>
                  <a:pt x="1816989" y="140589"/>
                  <a:pt x="1834134" y="140589"/>
                </a:cubicBezTo>
                <a:cubicBezTo>
                  <a:pt x="1849374" y="140589"/>
                  <a:pt x="1863566" y="150114"/>
                  <a:pt x="1863566" y="171450"/>
                </a:cubicBezTo>
                <a:cubicBezTo>
                  <a:pt x="1863566" y="176213"/>
                  <a:pt x="1862614" y="181928"/>
                  <a:pt x="1861661" y="187642"/>
                </a:cubicBezTo>
                <a:lnTo>
                  <a:pt x="1831277" y="338328"/>
                </a:lnTo>
                <a:lnTo>
                  <a:pt x="1890141" y="338328"/>
                </a:lnTo>
                <a:lnTo>
                  <a:pt x="1921002" y="183832"/>
                </a:lnTo>
                <a:cubicBezTo>
                  <a:pt x="1923002" y="175831"/>
                  <a:pt x="1924431" y="165354"/>
                  <a:pt x="1924431" y="156305"/>
                </a:cubicBezTo>
                <a:moveTo>
                  <a:pt x="1702022" y="953"/>
                </a:moveTo>
                <a:lnTo>
                  <a:pt x="1641157" y="953"/>
                </a:lnTo>
                <a:lnTo>
                  <a:pt x="1631632" y="49816"/>
                </a:lnTo>
                <a:lnTo>
                  <a:pt x="1692021" y="49816"/>
                </a:lnTo>
                <a:lnTo>
                  <a:pt x="1702022" y="953"/>
                </a:lnTo>
                <a:close/>
                <a:moveTo>
                  <a:pt x="1682115" y="98393"/>
                </a:moveTo>
                <a:lnTo>
                  <a:pt x="1623155" y="98393"/>
                </a:lnTo>
                <a:lnTo>
                  <a:pt x="1575149" y="338423"/>
                </a:lnTo>
                <a:lnTo>
                  <a:pt x="1634109" y="338423"/>
                </a:lnTo>
                <a:lnTo>
                  <a:pt x="1682115" y="98393"/>
                </a:lnTo>
                <a:close/>
                <a:moveTo>
                  <a:pt x="1592199" y="111252"/>
                </a:moveTo>
                <a:cubicBezTo>
                  <a:pt x="1578864" y="95536"/>
                  <a:pt x="1563243" y="88011"/>
                  <a:pt x="1539431" y="88011"/>
                </a:cubicBezTo>
                <a:cubicBezTo>
                  <a:pt x="1513713" y="88011"/>
                  <a:pt x="1490472" y="98488"/>
                  <a:pt x="1476661" y="115062"/>
                </a:cubicBezTo>
                <a:lnTo>
                  <a:pt x="1481900" y="90869"/>
                </a:lnTo>
                <a:lnTo>
                  <a:pt x="1424845" y="90869"/>
                </a:lnTo>
                <a:lnTo>
                  <a:pt x="1375410" y="338423"/>
                </a:lnTo>
                <a:lnTo>
                  <a:pt x="1434370" y="338423"/>
                </a:lnTo>
                <a:lnTo>
                  <a:pt x="1464278" y="188690"/>
                </a:lnTo>
                <a:cubicBezTo>
                  <a:pt x="1469993" y="160115"/>
                  <a:pt x="1490853" y="141161"/>
                  <a:pt x="1514189" y="141161"/>
                </a:cubicBezTo>
                <a:cubicBezTo>
                  <a:pt x="1527048" y="141161"/>
                  <a:pt x="1535144" y="148304"/>
                  <a:pt x="1541240" y="156400"/>
                </a:cubicBezTo>
                <a:lnTo>
                  <a:pt x="1592199" y="111252"/>
                </a:lnTo>
                <a:close/>
                <a:moveTo>
                  <a:pt x="1298067" y="176308"/>
                </a:moveTo>
                <a:cubicBezTo>
                  <a:pt x="1298067" y="181546"/>
                  <a:pt x="1297591" y="187738"/>
                  <a:pt x="1296638" y="192977"/>
                </a:cubicBezTo>
                <a:lnTo>
                  <a:pt x="1205770" y="192977"/>
                </a:lnTo>
                <a:cubicBezTo>
                  <a:pt x="1216724" y="152495"/>
                  <a:pt x="1237679" y="136303"/>
                  <a:pt x="1262825" y="136303"/>
                </a:cubicBezTo>
                <a:cubicBezTo>
                  <a:pt x="1283780" y="136398"/>
                  <a:pt x="1298067" y="150209"/>
                  <a:pt x="1298067" y="176308"/>
                </a:cubicBezTo>
                <a:moveTo>
                  <a:pt x="1354074" y="176308"/>
                </a:moveTo>
                <a:cubicBezTo>
                  <a:pt x="1354074" y="122587"/>
                  <a:pt x="1318451" y="87916"/>
                  <a:pt x="1266158" y="87916"/>
                </a:cubicBezTo>
                <a:cubicBezTo>
                  <a:pt x="1180529" y="87916"/>
                  <a:pt x="1140238" y="171069"/>
                  <a:pt x="1140238" y="254222"/>
                </a:cubicBezTo>
                <a:cubicBezTo>
                  <a:pt x="1140238" y="319373"/>
                  <a:pt x="1189101" y="341186"/>
                  <a:pt x="1231964" y="341186"/>
                </a:cubicBezTo>
                <a:cubicBezTo>
                  <a:pt x="1269111" y="341186"/>
                  <a:pt x="1302830" y="328803"/>
                  <a:pt x="1328452" y="305086"/>
                </a:cubicBezTo>
                <a:lnTo>
                  <a:pt x="1297591" y="266129"/>
                </a:lnTo>
                <a:cubicBezTo>
                  <a:pt x="1280446" y="282797"/>
                  <a:pt x="1262348" y="291370"/>
                  <a:pt x="1238631" y="291370"/>
                </a:cubicBezTo>
                <a:cubicBezTo>
                  <a:pt x="1210056" y="291370"/>
                  <a:pt x="1196340" y="274225"/>
                  <a:pt x="1196340" y="249936"/>
                </a:cubicBezTo>
                <a:cubicBezTo>
                  <a:pt x="1196340" y="244221"/>
                  <a:pt x="1197293" y="238030"/>
                  <a:pt x="1198245" y="232315"/>
                </a:cubicBezTo>
                <a:lnTo>
                  <a:pt x="1346549" y="232315"/>
                </a:lnTo>
                <a:cubicBezTo>
                  <a:pt x="1350740" y="213360"/>
                  <a:pt x="1354074" y="192977"/>
                  <a:pt x="1354074" y="176308"/>
                </a:cubicBezTo>
                <a:moveTo>
                  <a:pt x="1054227" y="176308"/>
                </a:moveTo>
                <a:cubicBezTo>
                  <a:pt x="1054227" y="181546"/>
                  <a:pt x="1053751" y="187738"/>
                  <a:pt x="1052798" y="192977"/>
                </a:cubicBezTo>
                <a:lnTo>
                  <a:pt x="961930" y="192977"/>
                </a:lnTo>
                <a:cubicBezTo>
                  <a:pt x="972884" y="152495"/>
                  <a:pt x="993838" y="136303"/>
                  <a:pt x="1018984" y="136303"/>
                </a:cubicBezTo>
                <a:cubicBezTo>
                  <a:pt x="1039940" y="136398"/>
                  <a:pt x="1054227" y="150209"/>
                  <a:pt x="1054227" y="176308"/>
                </a:cubicBezTo>
                <a:moveTo>
                  <a:pt x="1110234" y="176308"/>
                </a:moveTo>
                <a:cubicBezTo>
                  <a:pt x="1110234" y="122587"/>
                  <a:pt x="1074611" y="87916"/>
                  <a:pt x="1022318" y="87916"/>
                </a:cubicBezTo>
                <a:cubicBezTo>
                  <a:pt x="936688" y="87916"/>
                  <a:pt x="896398" y="171069"/>
                  <a:pt x="896398" y="254222"/>
                </a:cubicBezTo>
                <a:cubicBezTo>
                  <a:pt x="896398" y="319373"/>
                  <a:pt x="945261" y="341186"/>
                  <a:pt x="988124" y="341186"/>
                </a:cubicBezTo>
                <a:cubicBezTo>
                  <a:pt x="1025176" y="341186"/>
                  <a:pt x="1058990" y="328803"/>
                  <a:pt x="1084612" y="305086"/>
                </a:cubicBezTo>
                <a:lnTo>
                  <a:pt x="1053751" y="266129"/>
                </a:lnTo>
                <a:cubicBezTo>
                  <a:pt x="1036606" y="282797"/>
                  <a:pt x="1018604" y="291370"/>
                  <a:pt x="994791" y="291370"/>
                </a:cubicBezTo>
                <a:cubicBezTo>
                  <a:pt x="966216" y="291370"/>
                  <a:pt x="952500" y="274225"/>
                  <a:pt x="952500" y="249936"/>
                </a:cubicBezTo>
                <a:cubicBezTo>
                  <a:pt x="952500" y="244221"/>
                  <a:pt x="953453" y="238030"/>
                  <a:pt x="954405" y="232315"/>
                </a:cubicBezTo>
                <a:lnTo>
                  <a:pt x="1102709" y="232315"/>
                </a:lnTo>
                <a:cubicBezTo>
                  <a:pt x="1106900" y="213360"/>
                  <a:pt x="1110234" y="192977"/>
                  <a:pt x="1110234" y="176308"/>
                </a:cubicBezTo>
                <a:moveTo>
                  <a:pt x="863537" y="156305"/>
                </a:moveTo>
                <a:cubicBezTo>
                  <a:pt x="863537" y="107347"/>
                  <a:pt x="829342" y="87916"/>
                  <a:pt x="800386" y="87916"/>
                </a:cubicBezTo>
                <a:cubicBezTo>
                  <a:pt x="774763" y="87916"/>
                  <a:pt x="750951" y="97441"/>
                  <a:pt x="735235" y="114490"/>
                </a:cubicBezTo>
                <a:lnTo>
                  <a:pt x="739521" y="90773"/>
                </a:lnTo>
                <a:lnTo>
                  <a:pt x="682943" y="90773"/>
                </a:lnTo>
                <a:lnTo>
                  <a:pt x="633508" y="338328"/>
                </a:lnTo>
                <a:lnTo>
                  <a:pt x="692468" y="338328"/>
                </a:lnTo>
                <a:lnTo>
                  <a:pt x="722852" y="188119"/>
                </a:lnTo>
                <a:cubicBezTo>
                  <a:pt x="730472" y="149066"/>
                  <a:pt x="756095" y="140589"/>
                  <a:pt x="773240" y="140589"/>
                </a:cubicBezTo>
                <a:cubicBezTo>
                  <a:pt x="788480" y="140589"/>
                  <a:pt x="802672" y="150114"/>
                  <a:pt x="802672" y="171450"/>
                </a:cubicBezTo>
                <a:cubicBezTo>
                  <a:pt x="802672" y="176213"/>
                  <a:pt x="801719" y="181928"/>
                  <a:pt x="800767" y="187642"/>
                </a:cubicBezTo>
                <a:lnTo>
                  <a:pt x="770382" y="338328"/>
                </a:lnTo>
                <a:lnTo>
                  <a:pt x="829247" y="338328"/>
                </a:lnTo>
                <a:lnTo>
                  <a:pt x="860108" y="183832"/>
                </a:lnTo>
                <a:cubicBezTo>
                  <a:pt x="862108" y="175831"/>
                  <a:pt x="863537" y="165354"/>
                  <a:pt x="863537" y="156305"/>
                </a:cubicBezTo>
                <a:moveTo>
                  <a:pt x="553688" y="176308"/>
                </a:moveTo>
                <a:cubicBezTo>
                  <a:pt x="553688" y="181546"/>
                  <a:pt x="552736" y="193453"/>
                  <a:pt x="548450" y="214313"/>
                </a:cubicBezTo>
                <a:cubicBezTo>
                  <a:pt x="542734" y="245269"/>
                  <a:pt x="535115" y="264700"/>
                  <a:pt x="523208" y="276130"/>
                </a:cubicBezTo>
                <a:cubicBezTo>
                  <a:pt x="515588" y="283750"/>
                  <a:pt x="505111" y="288512"/>
                  <a:pt x="492824" y="288512"/>
                </a:cubicBezTo>
                <a:cubicBezTo>
                  <a:pt x="474250" y="288512"/>
                  <a:pt x="461391" y="276606"/>
                  <a:pt x="461391" y="252889"/>
                </a:cubicBezTo>
                <a:cubicBezTo>
                  <a:pt x="461391" y="247174"/>
                  <a:pt x="462344" y="235744"/>
                  <a:pt x="466630" y="214408"/>
                </a:cubicBezTo>
                <a:cubicBezTo>
                  <a:pt x="472821" y="184023"/>
                  <a:pt x="479965" y="164497"/>
                  <a:pt x="491871" y="153067"/>
                </a:cubicBezTo>
                <a:cubicBezTo>
                  <a:pt x="499491" y="145447"/>
                  <a:pt x="510445" y="140684"/>
                  <a:pt x="522351" y="140684"/>
                </a:cubicBezTo>
                <a:cubicBezTo>
                  <a:pt x="540925" y="140684"/>
                  <a:pt x="553688" y="152019"/>
                  <a:pt x="553688" y="176308"/>
                </a:cubicBezTo>
                <a:moveTo>
                  <a:pt x="612172" y="169640"/>
                </a:moveTo>
                <a:cubicBezTo>
                  <a:pt x="612172" y="112586"/>
                  <a:pt x="569881" y="87916"/>
                  <a:pt x="528542" y="87916"/>
                </a:cubicBezTo>
                <a:cubicBezTo>
                  <a:pt x="497110" y="87916"/>
                  <a:pt x="471011" y="98393"/>
                  <a:pt x="452438" y="116396"/>
                </a:cubicBezTo>
                <a:cubicBezTo>
                  <a:pt x="430625" y="137255"/>
                  <a:pt x="418719" y="162496"/>
                  <a:pt x="408242" y="214313"/>
                </a:cubicBezTo>
                <a:cubicBezTo>
                  <a:pt x="405860" y="225742"/>
                  <a:pt x="403003" y="244316"/>
                  <a:pt x="403003" y="259461"/>
                </a:cubicBezTo>
                <a:cubicBezTo>
                  <a:pt x="403003" y="316516"/>
                  <a:pt x="445294" y="341186"/>
                  <a:pt x="487109" y="341186"/>
                </a:cubicBezTo>
                <a:cubicBezTo>
                  <a:pt x="518541" y="341186"/>
                  <a:pt x="544163" y="330708"/>
                  <a:pt x="563213" y="312706"/>
                </a:cubicBezTo>
                <a:cubicBezTo>
                  <a:pt x="584549" y="291846"/>
                  <a:pt x="596932" y="266605"/>
                  <a:pt x="607409" y="214313"/>
                </a:cubicBezTo>
                <a:cubicBezTo>
                  <a:pt x="609314" y="203454"/>
                  <a:pt x="612172" y="184880"/>
                  <a:pt x="612172" y="169640"/>
                </a:cubicBezTo>
                <a:moveTo>
                  <a:pt x="401098" y="953"/>
                </a:moveTo>
                <a:lnTo>
                  <a:pt x="340233" y="953"/>
                </a:lnTo>
                <a:lnTo>
                  <a:pt x="330708" y="49816"/>
                </a:lnTo>
                <a:lnTo>
                  <a:pt x="391096" y="49816"/>
                </a:lnTo>
                <a:lnTo>
                  <a:pt x="401098" y="953"/>
                </a:lnTo>
                <a:close/>
                <a:moveTo>
                  <a:pt x="381191" y="98393"/>
                </a:moveTo>
                <a:lnTo>
                  <a:pt x="322231" y="98393"/>
                </a:lnTo>
                <a:lnTo>
                  <a:pt x="274225" y="338423"/>
                </a:lnTo>
                <a:lnTo>
                  <a:pt x="333184" y="338423"/>
                </a:lnTo>
                <a:lnTo>
                  <a:pt x="381191" y="98393"/>
                </a:lnTo>
                <a:close/>
                <a:moveTo>
                  <a:pt x="215741" y="94583"/>
                </a:moveTo>
                <a:cubicBezTo>
                  <a:pt x="215741" y="120301"/>
                  <a:pt x="197167" y="151638"/>
                  <a:pt x="156305" y="151638"/>
                </a:cubicBezTo>
                <a:lnTo>
                  <a:pt x="100203" y="151638"/>
                </a:lnTo>
                <a:lnTo>
                  <a:pt x="119729" y="55531"/>
                </a:lnTo>
                <a:lnTo>
                  <a:pt x="177737" y="55531"/>
                </a:lnTo>
                <a:cubicBezTo>
                  <a:pt x="205835" y="55531"/>
                  <a:pt x="215741" y="73152"/>
                  <a:pt x="215741" y="94583"/>
                </a:cubicBezTo>
                <a:moveTo>
                  <a:pt x="278987" y="89345"/>
                </a:moveTo>
                <a:cubicBezTo>
                  <a:pt x="278987" y="36576"/>
                  <a:pt x="245745" y="0"/>
                  <a:pt x="188214" y="0"/>
                </a:cubicBezTo>
                <a:lnTo>
                  <a:pt x="68008" y="0"/>
                </a:lnTo>
                <a:lnTo>
                  <a:pt x="0" y="338328"/>
                </a:lnTo>
                <a:lnTo>
                  <a:pt x="62770" y="338328"/>
                </a:lnTo>
                <a:lnTo>
                  <a:pt x="88868" y="207169"/>
                </a:lnTo>
                <a:lnTo>
                  <a:pt x="154019" y="207169"/>
                </a:lnTo>
                <a:cubicBezTo>
                  <a:pt x="235267" y="207169"/>
                  <a:pt x="278987" y="149733"/>
                  <a:pt x="278987" y="89345"/>
                </a:cubicBezTo>
              </a:path>
            </a:pathLst>
          </a:custGeom>
          <a:solidFill>
            <a:srgbClr val="FF83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9" name="Titel 1">
            <a:extLst>
              <a:ext uri="{FF2B5EF4-FFF2-40B4-BE49-F238E27FC236}">
                <a16:creationId xmlns:a16="http://schemas.microsoft.com/office/drawing/2014/main" id="{211E928F-89D2-47BE-B5EB-05C624813A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5959" y="3139281"/>
            <a:ext cx="9651681" cy="581698"/>
          </a:xfrm>
        </p:spPr>
        <p:txBody>
          <a:bodyPr wrap="none" anchor="b">
            <a:spAutoFit/>
          </a:bodyPr>
          <a:lstStyle>
            <a:lvl1pPr algn="l">
              <a:defRPr sz="4200" i="1" cap="all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Title Chapter, Arial, 42 </a:t>
            </a:r>
            <a:r>
              <a:rPr lang="en-US" dirty="0" err="1"/>
              <a:t>pt</a:t>
            </a:r>
            <a:r>
              <a:rPr lang="en-US" dirty="0"/>
              <a:t>, Italic</a:t>
            </a:r>
          </a:p>
        </p:txBody>
      </p:sp>
      <p:sp>
        <p:nvSpPr>
          <p:cNvPr id="60" name="Untertitel 2">
            <a:extLst>
              <a:ext uri="{FF2B5EF4-FFF2-40B4-BE49-F238E27FC236}">
                <a16:creationId xmlns:a16="http://schemas.microsoft.com/office/drawing/2014/main" id="{22C293F5-3F20-4AB8-9EBC-F748BE6E060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91212" y="3786597"/>
            <a:ext cx="6476901" cy="492443"/>
          </a:xfrm>
          <a:prstGeom prst="rect">
            <a:avLst/>
          </a:prstGeom>
        </p:spPr>
        <p:txBody>
          <a:bodyPr wrap="none" anchor="t">
            <a:spAutoFit/>
          </a:bodyPr>
          <a:lstStyle>
            <a:lvl1pPr marL="0" indent="0" algn="r">
              <a:buNone/>
              <a:defRPr sz="3200" i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Chapter, Arial, 32 </a:t>
            </a:r>
            <a:r>
              <a:rPr lang="en-US" dirty="0" err="1"/>
              <a:t>pt</a:t>
            </a:r>
            <a:r>
              <a:rPr lang="en-US" dirty="0"/>
              <a:t>, italic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14A20663-A513-4F28-9564-DAEFC7BF6A39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31" name="Linientext 05,60">
              <a:extLst>
                <a:ext uri="{FF2B5EF4-FFF2-40B4-BE49-F238E27FC236}">
                  <a16:creationId xmlns:a16="http://schemas.microsoft.com/office/drawing/2014/main" id="{AB20209F-318F-473E-A80C-0FB686822B02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2" name="Hilfslinie 12,10">
              <a:extLst>
                <a:ext uri="{FF2B5EF4-FFF2-40B4-BE49-F238E27FC236}">
                  <a16:creationId xmlns:a16="http://schemas.microsoft.com/office/drawing/2014/main" id="{F413D4A9-32E7-4342-9C41-BCB68D1DA2F5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Linientext 12,10">
              <a:extLst>
                <a:ext uri="{FF2B5EF4-FFF2-40B4-BE49-F238E27FC236}">
                  <a16:creationId xmlns:a16="http://schemas.microsoft.com/office/drawing/2014/main" id="{FB5F3BA6-B098-44DE-8851-BC718C7D55A6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34" name="Linientext 13,95">
              <a:extLst>
                <a:ext uri="{FF2B5EF4-FFF2-40B4-BE49-F238E27FC236}">
                  <a16:creationId xmlns:a16="http://schemas.microsoft.com/office/drawing/2014/main" id="{5EB680DF-291D-4921-AB71-1E72118B66E0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35" name="Hilfslinie 13,95">
              <a:extLst>
                <a:ext uri="{FF2B5EF4-FFF2-40B4-BE49-F238E27FC236}">
                  <a16:creationId xmlns:a16="http://schemas.microsoft.com/office/drawing/2014/main" id="{18181F72-B387-4073-B017-9DB52AF0F314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Hilfslinie 12,10">
              <a:extLst>
                <a:ext uri="{FF2B5EF4-FFF2-40B4-BE49-F238E27FC236}">
                  <a16:creationId xmlns:a16="http://schemas.microsoft.com/office/drawing/2014/main" id="{EFE277FB-35DC-4D90-983F-0CF3DD99050B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Linientext 12,10">
              <a:extLst>
                <a:ext uri="{FF2B5EF4-FFF2-40B4-BE49-F238E27FC236}">
                  <a16:creationId xmlns:a16="http://schemas.microsoft.com/office/drawing/2014/main" id="{E94BBDBF-6AD7-4A35-8F9E-462C4AC1B2AC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38" name="Linientext 13,95">
              <a:extLst>
                <a:ext uri="{FF2B5EF4-FFF2-40B4-BE49-F238E27FC236}">
                  <a16:creationId xmlns:a16="http://schemas.microsoft.com/office/drawing/2014/main" id="{8024436A-FF5C-4066-AFB2-E626AB9FFD76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39" name="Hilfslinie 13,95">
              <a:extLst>
                <a:ext uri="{FF2B5EF4-FFF2-40B4-BE49-F238E27FC236}">
                  <a16:creationId xmlns:a16="http://schemas.microsoft.com/office/drawing/2014/main" id="{75ED3CBB-E7B6-4800-8D3E-B44D016E79A0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Linientext 05,60">
              <a:extLst>
                <a:ext uri="{FF2B5EF4-FFF2-40B4-BE49-F238E27FC236}">
                  <a16:creationId xmlns:a16="http://schemas.microsoft.com/office/drawing/2014/main" id="{305FEBA5-CBF3-4ACC-83F9-39FCFCC94DA0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1" name="Linientext 05,60">
              <a:extLst>
                <a:ext uri="{FF2B5EF4-FFF2-40B4-BE49-F238E27FC236}">
                  <a16:creationId xmlns:a16="http://schemas.microsoft.com/office/drawing/2014/main" id="{DA38275E-C479-41B0-A2B3-B3AA7B2B7334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2" name="Linientext 05,60">
              <a:extLst>
                <a:ext uri="{FF2B5EF4-FFF2-40B4-BE49-F238E27FC236}">
                  <a16:creationId xmlns:a16="http://schemas.microsoft.com/office/drawing/2014/main" id="{6B132A64-F931-4855-887B-DD58FD1B4523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3" name="Linientext 05,60">
              <a:extLst>
                <a:ext uri="{FF2B5EF4-FFF2-40B4-BE49-F238E27FC236}">
                  <a16:creationId xmlns:a16="http://schemas.microsoft.com/office/drawing/2014/main" id="{10A66FAB-CA59-41B1-8522-A2217A1ADEEC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4" name="Hilfslinie 05,60">
              <a:extLst>
                <a:ext uri="{FF2B5EF4-FFF2-40B4-BE49-F238E27FC236}">
                  <a16:creationId xmlns:a16="http://schemas.microsoft.com/office/drawing/2014/main" id="{FD919C5A-15D1-4D97-BE11-24B66363BAFF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Hilfslinie 05,60">
              <a:extLst>
                <a:ext uri="{FF2B5EF4-FFF2-40B4-BE49-F238E27FC236}">
                  <a16:creationId xmlns:a16="http://schemas.microsoft.com/office/drawing/2014/main" id="{662AA6DA-8B7F-4609-9E27-DAA80FA01BE2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Hilfslinie 05,60">
              <a:extLst>
                <a:ext uri="{FF2B5EF4-FFF2-40B4-BE49-F238E27FC236}">
                  <a16:creationId xmlns:a16="http://schemas.microsoft.com/office/drawing/2014/main" id="{DF19A8B6-8F39-4877-91F5-27F4E33AD8A8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Hilfslinie 05,60">
              <a:extLst>
                <a:ext uri="{FF2B5EF4-FFF2-40B4-BE49-F238E27FC236}">
                  <a16:creationId xmlns:a16="http://schemas.microsoft.com/office/drawing/2014/main" id="{6AA5DE65-7EF7-44CE-B281-8B124CDD69CE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Hilfslinie 05,60">
              <a:extLst>
                <a:ext uri="{FF2B5EF4-FFF2-40B4-BE49-F238E27FC236}">
                  <a16:creationId xmlns:a16="http://schemas.microsoft.com/office/drawing/2014/main" id="{3CD9372F-70CC-458E-8ECC-3FF8940DB66A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Linientext 05,60">
              <a:extLst>
                <a:ext uri="{FF2B5EF4-FFF2-40B4-BE49-F238E27FC236}">
                  <a16:creationId xmlns:a16="http://schemas.microsoft.com/office/drawing/2014/main" id="{733BCA38-A18A-4282-B39A-8ACA5B9F1E24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70" name="Hilfslinie 05,60">
              <a:extLst>
                <a:ext uri="{FF2B5EF4-FFF2-40B4-BE49-F238E27FC236}">
                  <a16:creationId xmlns:a16="http://schemas.microsoft.com/office/drawing/2014/main" id="{8E0E5A29-11FD-4509-A8FE-21CA1B91BA1E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45617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0354B8F-6AAB-41FE-8D80-21AC3B94A2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9151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0354B8F-6AAB-41FE-8D80-21AC3B94A2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74416BCB-EEA0-4790-BBAA-2815229FD14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EE022A-9C40-3449-A7EF-F03D5CE1A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Agenda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DA1406E-E62C-4202-9DB7-E26BDA71B82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1557338"/>
            <a:ext cx="689097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5FB45E2D-75A9-4050-BB3D-ED444532ED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65249" y="1803004"/>
            <a:ext cx="10202861" cy="307777"/>
          </a:xfrm>
        </p:spPr>
        <p:txBody>
          <a:bodyPr wrap="square">
            <a:sp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hapter 1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9507ED7B-DA3C-4A93-85D9-70C03E3027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2372044"/>
            <a:ext cx="689097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46DEE060-A7ED-44A5-8215-30F8059619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65249" y="2617710"/>
            <a:ext cx="10202861" cy="307777"/>
          </a:xfrm>
        </p:spPr>
        <p:txBody>
          <a:bodyPr wrap="square">
            <a:sp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hapter 2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A1F1F622-E5C8-4FF7-8C4F-F6ED3DAAC63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888" y="3186750"/>
            <a:ext cx="689097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D2C353E1-A5E6-4F8E-9502-909F2FF435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65249" y="3432416"/>
            <a:ext cx="10202861" cy="307777"/>
          </a:xfrm>
        </p:spPr>
        <p:txBody>
          <a:bodyPr wrap="square">
            <a:sp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hapter 3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A03D976D-6114-4379-8BAB-3FDC0CFE3D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3888" y="4001456"/>
            <a:ext cx="689097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84BC7931-4B31-4B48-96EC-872970A180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65249" y="4247122"/>
            <a:ext cx="10202861" cy="307777"/>
          </a:xfrm>
        </p:spPr>
        <p:txBody>
          <a:bodyPr wrap="square">
            <a:sp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hapter 4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EB9F77FA-A219-4B7E-8B70-3F0704A7FFE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3888" y="4816163"/>
            <a:ext cx="689097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05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016EFBEC-8F2D-48B4-9AFA-287FE5EF387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5249" y="5061829"/>
            <a:ext cx="10202861" cy="307777"/>
          </a:xfrm>
        </p:spPr>
        <p:txBody>
          <a:bodyPr wrap="square">
            <a:spAutoFit/>
          </a:bodyPr>
          <a:lstStyle>
            <a:lvl1pPr>
              <a:defRPr sz="2000"/>
            </a:lvl1pPr>
          </a:lstStyle>
          <a:p>
            <a:pPr lvl="0"/>
            <a:r>
              <a:rPr lang="en-US" dirty="0"/>
              <a:t>Chapter 5, Arial, 2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9" name="Foliennummernplatzhalter 3">
            <a:extLst>
              <a:ext uri="{FF2B5EF4-FFF2-40B4-BE49-F238E27FC236}">
                <a16:creationId xmlns:a16="http://schemas.microsoft.com/office/drawing/2014/main" id="{A9F9BC87-0816-49B5-96AC-0118DA25B4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A25CB711-6782-404D-BBDC-74D810DA96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</p:spTree>
    <p:extLst>
      <p:ext uri="{BB962C8B-B14F-4D97-AF65-F5344CB8AC3E}">
        <p14:creationId xmlns:p14="http://schemas.microsoft.com/office/powerpoint/2010/main" val="15094612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9705D2-1CDF-430E-B4B0-74AA47C869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446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9B689D1-65F0-4D74-B9B5-2B4DED4FE1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A15AC2-AA23-FE40-88C0-225C8EE161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6D3099-120D-4D14-977E-474C45E03E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3888" y="820865"/>
            <a:ext cx="10944225" cy="261610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700">
                <a:solidFill>
                  <a:schemeClr val="accent5"/>
                </a:solidFill>
              </a:defRPr>
            </a:lvl1pPr>
            <a:lvl2pPr marL="457200" indent="0">
              <a:buNone/>
              <a:defRPr sz="1700"/>
            </a:lvl2pPr>
            <a:lvl3pPr marL="914400" indent="0">
              <a:buNone/>
              <a:defRPr sz="1700"/>
            </a:lvl3pPr>
            <a:lvl4pPr marL="1371600" indent="0">
              <a:buNone/>
              <a:defRPr sz="1700"/>
            </a:lvl4pPr>
            <a:lvl5pPr marL="1828800" indent="0">
              <a:buNone/>
              <a:defRPr sz="1700"/>
            </a:lvl5pPr>
          </a:lstStyle>
          <a:p>
            <a:pPr lvl="0"/>
            <a:r>
              <a:rPr lang="en-US" dirty="0"/>
              <a:t>Subline, Arial, 17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15" name="Inhaltsplatzhalter 14">
            <a:extLst>
              <a:ext uri="{FF2B5EF4-FFF2-40B4-BE49-F238E27FC236}">
                <a16:creationId xmlns:a16="http://schemas.microsoft.com/office/drawing/2014/main" id="{C04910B4-7C58-4C41-98F0-02A07E09C54B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3888" y="1557338"/>
            <a:ext cx="10944222" cy="4319587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dirty="0"/>
              <a:t>Please click here to edit master format, Arial, 16 </a:t>
            </a:r>
            <a:r>
              <a:rPr lang="en-US" noProof="0" dirty="0" err="1"/>
              <a:t>pt</a:t>
            </a:r>
            <a:r>
              <a:rPr lang="en-US" noProof="0" dirty="0"/>
              <a:t>, line spacing 1 </a:t>
            </a:r>
            <a:r>
              <a:rPr lang="en-US" noProof="0" dirty="0" err="1"/>
              <a:t>pt</a:t>
            </a:r>
            <a:r>
              <a:rPr lang="en-US" noProof="0" dirty="0"/>
              <a:t>, spacing 4 </a:t>
            </a:r>
            <a:r>
              <a:rPr lang="en-US" noProof="0" dirty="0" err="1"/>
              <a:t>pt</a:t>
            </a:r>
            <a:r>
              <a:rPr lang="en-US" noProof="0" dirty="0"/>
              <a:t> forward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oliennummernplatzhalter 3">
            <a:extLst>
              <a:ext uri="{FF2B5EF4-FFF2-40B4-BE49-F238E27FC236}">
                <a16:creationId xmlns:a16="http://schemas.microsoft.com/office/drawing/2014/main" id="{971329DF-C967-4D1B-B3C1-1DC7229474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729B6BA-6627-4C8C-8AD9-A13743D859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3888" y="6076236"/>
            <a:ext cx="10944222" cy="123111"/>
          </a:xfrm>
        </p:spPr>
        <p:txBody>
          <a:bodyPr wrap="square" anchor="b">
            <a:spAutoFit/>
          </a:bodyPr>
          <a:lstStyle>
            <a:lvl1pPr>
              <a:spcBef>
                <a:spcPts val="0"/>
              </a:spcBef>
              <a:defRPr sz="800"/>
            </a:lvl1pPr>
          </a:lstStyle>
          <a:p>
            <a:pPr lvl="0"/>
            <a:r>
              <a:rPr lang="en-US" dirty="0"/>
              <a:t>Source: Arial 8 </a:t>
            </a:r>
            <a:r>
              <a:rPr lang="en-US" dirty="0" err="1"/>
              <a:t>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423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0BB410D-8360-440C-B8B3-BE0E9EAF57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43476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44" imgH="345" progId="TCLayout.ActiveDocument.1">
                  <p:embed/>
                </p:oleObj>
              </mc:Choice>
              <mc:Fallback>
                <p:oleObj name="think-cell Slide" r:id="rId33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0D68AF6B-D126-471B-9B39-36E38FAF7225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FFC100F-6395-3D4A-AAF6-CB12846F4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6267" y="476250"/>
            <a:ext cx="10944225" cy="3046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Headline, Arial, 22 </a:t>
            </a:r>
            <a:r>
              <a:rPr lang="en-US" dirty="0" err="1"/>
              <a:t>pt</a:t>
            </a:r>
            <a:r>
              <a:rPr lang="en-US" dirty="0"/>
              <a:t>, single line</a:t>
            </a:r>
          </a:p>
        </p:txBody>
      </p:sp>
      <p:sp>
        <p:nvSpPr>
          <p:cNvPr id="48" name="Textplatzhalter 47">
            <a:extLst>
              <a:ext uri="{FF2B5EF4-FFF2-40B4-BE49-F238E27FC236}">
                <a16:creationId xmlns:a16="http://schemas.microsoft.com/office/drawing/2014/main" id="{27B77F53-2937-46F0-B152-AFB60055836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626266" y="1557338"/>
            <a:ext cx="10944225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Please click here to edit master forma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FC38F9BB-B8ED-4AEE-9192-FF43F3976E62}"/>
              </a:ext>
            </a:extLst>
          </p:cNvPr>
          <p:cNvGrpSpPr/>
          <p:nvPr userDrawn="1"/>
        </p:nvGrpSpPr>
        <p:grpSpPr>
          <a:xfrm>
            <a:off x="623888" y="6415097"/>
            <a:ext cx="841094" cy="111909"/>
            <a:chOff x="223019" y="5512949"/>
            <a:chExt cx="2540191" cy="337977"/>
          </a:xfrm>
        </p:grpSpPr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E4D5B10-7316-4831-B5F7-260871880CD0}"/>
                </a:ext>
              </a:extLst>
            </p:cNvPr>
            <p:cNvSpPr/>
            <p:nvPr/>
          </p:nvSpPr>
          <p:spPr>
            <a:xfrm>
              <a:off x="490471" y="5606744"/>
              <a:ext cx="158000" cy="229819"/>
            </a:xfrm>
            <a:custGeom>
              <a:avLst/>
              <a:gdLst>
                <a:gd name="connsiteX0" fmla="*/ 105061 w 104775"/>
                <a:gd name="connsiteY0" fmla="*/ 0 h 152400"/>
                <a:gd name="connsiteX1" fmla="*/ 110204 w 104775"/>
                <a:gd name="connsiteY1" fmla="*/ 381 h 152400"/>
                <a:gd name="connsiteX2" fmla="*/ 102680 w 104775"/>
                <a:gd name="connsiteY2" fmla="*/ 37719 h 152400"/>
                <a:gd name="connsiteX3" fmla="*/ 88868 w 104775"/>
                <a:gd name="connsiteY3" fmla="*/ 34957 h 152400"/>
                <a:gd name="connsiteX4" fmla="*/ 56769 w 104775"/>
                <a:gd name="connsiteY4" fmla="*/ 64770 h 152400"/>
                <a:gd name="connsiteX5" fmla="*/ 37910 w 104775"/>
                <a:gd name="connsiteY5" fmla="*/ 159448 h 152400"/>
                <a:gd name="connsiteX6" fmla="*/ 0 w 104775"/>
                <a:gd name="connsiteY6" fmla="*/ 159448 h 152400"/>
                <a:gd name="connsiteX7" fmla="*/ 31147 w 104775"/>
                <a:gd name="connsiteY7" fmla="*/ 3429 h 152400"/>
                <a:gd name="connsiteX8" fmla="*/ 67818 w 104775"/>
                <a:gd name="connsiteY8" fmla="*/ 3429 h 152400"/>
                <a:gd name="connsiteX9" fmla="*/ 64770 w 104775"/>
                <a:gd name="connsiteY9" fmla="*/ 17526 h 152400"/>
                <a:gd name="connsiteX10" fmla="*/ 105061 w 104775"/>
                <a:gd name="connsiteY10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775" h="152400">
                  <a:moveTo>
                    <a:pt x="105061" y="0"/>
                  </a:moveTo>
                  <a:cubicBezTo>
                    <a:pt x="106775" y="0"/>
                    <a:pt x="108966" y="190"/>
                    <a:pt x="110204" y="381"/>
                  </a:cubicBezTo>
                  <a:lnTo>
                    <a:pt x="102680" y="37719"/>
                  </a:lnTo>
                  <a:cubicBezTo>
                    <a:pt x="98107" y="35719"/>
                    <a:pt x="92964" y="34957"/>
                    <a:pt x="88868" y="34957"/>
                  </a:cubicBezTo>
                  <a:cubicBezTo>
                    <a:pt x="73914" y="34957"/>
                    <a:pt x="60484" y="46482"/>
                    <a:pt x="56769" y="64770"/>
                  </a:cubicBezTo>
                  <a:lnTo>
                    <a:pt x="37910" y="159448"/>
                  </a:lnTo>
                  <a:lnTo>
                    <a:pt x="0" y="159448"/>
                  </a:lnTo>
                  <a:lnTo>
                    <a:pt x="31147" y="3429"/>
                  </a:lnTo>
                  <a:lnTo>
                    <a:pt x="67818" y="3429"/>
                  </a:lnTo>
                  <a:lnTo>
                    <a:pt x="64770" y="17526"/>
                  </a:lnTo>
                  <a:cubicBezTo>
                    <a:pt x="73629" y="6763"/>
                    <a:pt x="88582" y="0"/>
                    <a:pt x="105061" y="0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E17DE5D1-06CC-4E2D-87FA-D655BB551951}"/>
                </a:ext>
              </a:extLst>
            </p:cNvPr>
            <p:cNvSpPr/>
            <p:nvPr/>
          </p:nvSpPr>
          <p:spPr>
            <a:xfrm>
              <a:off x="882599" y="5611914"/>
              <a:ext cx="215455" cy="229819"/>
            </a:xfrm>
            <a:custGeom>
              <a:avLst/>
              <a:gdLst>
                <a:gd name="connsiteX0" fmla="*/ 149066 w 142875"/>
                <a:gd name="connsiteY0" fmla="*/ 0 h 152400"/>
                <a:gd name="connsiteX1" fmla="*/ 118206 w 142875"/>
                <a:gd name="connsiteY1" fmla="*/ 156020 h 152400"/>
                <a:gd name="connsiteX2" fmla="*/ 81820 w 142875"/>
                <a:gd name="connsiteY2" fmla="*/ 156020 h 152400"/>
                <a:gd name="connsiteX3" fmla="*/ 84297 w 142875"/>
                <a:gd name="connsiteY3" fmla="*/ 142399 h 152400"/>
                <a:gd name="connsiteX4" fmla="*/ 40672 w 142875"/>
                <a:gd name="connsiteY4" fmla="*/ 159449 h 152400"/>
                <a:gd name="connsiteX5" fmla="*/ 0 w 142875"/>
                <a:gd name="connsiteY5" fmla="*/ 115157 h 152400"/>
                <a:gd name="connsiteX6" fmla="*/ 1810 w 142875"/>
                <a:gd name="connsiteY6" fmla="*/ 97727 h 152400"/>
                <a:gd name="connsiteX7" fmla="*/ 21336 w 142875"/>
                <a:gd name="connsiteY7" fmla="*/ 0 h 152400"/>
                <a:gd name="connsiteX8" fmla="*/ 59246 w 142875"/>
                <a:gd name="connsiteY8" fmla="*/ 0 h 152400"/>
                <a:gd name="connsiteX9" fmla="*/ 40291 w 142875"/>
                <a:gd name="connsiteY9" fmla="*/ 95345 h 152400"/>
                <a:gd name="connsiteX10" fmla="*/ 39053 w 142875"/>
                <a:gd name="connsiteY10" fmla="*/ 105728 h 152400"/>
                <a:gd name="connsiteX11" fmla="*/ 58008 w 142875"/>
                <a:gd name="connsiteY11" fmla="*/ 125635 h 152400"/>
                <a:gd name="connsiteX12" fmla="*/ 92107 w 142875"/>
                <a:gd name="connsiteY12" fmla="*/ 95060 h 152400"/>
                <a:gd name="connsiteX13" fmla="*/ 110966 w 142875"/>
                <a:gd name="connsiteY13" fmla="*/ 95 h 152400"/>
                <a:gd name="connsiteX14" fmla="*/ 149066 w 142875"/>
                <a:gd name="connsiteY14" fmla="*/ 95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2875" h="152400">
                  <a:moveTo>
                    <a:pt x="149066" y="0"/>
                  </a:moveTo>
                  <a:lnTo>
                    <a:pt x="118206" y="156020"/>
                  </a:lnTo>
                  <a:lnTo>
                    <a:pt x="81820" y="156020"/>
                  </a:lnTo>
                  <a:lnTo>
                    <a:pt x="84297" y="142399"/>
                  </a:lnTo>
                  <a:cubicBezTo>
                    <a:pt x="73914" y="153067"/>
                    <a:pt x="57150" y="159449"/>
                    <a:pt x="40672" y="159449"/>
                  </a:cubicBezTo>
                  <a:cubicBezTo>
                    <a:pt x="22003" y="159449"/>
                    <a:pt x="0" y="146971"/>
                    <a:pt x="0" y="115157"/>
                  </a:cubicBezTo>
                  <a:cubicBezTo>
                    <a:pt x="0" y="108776"/>
                    <a:pt x="953" y="102965"/>
                    <a:pt x="1810" y="97727"/>
                  </a:cubicBezTo>
                  <a:lnTo>
                    <a:pt x="21336" y="0"/>
                  </a:lnTo>
                  <a:lnTo>
                    <a:pt x="59246" y="0"/>
                  </a:lnTo>
                  <a:lnTo>
                    <a:pt x="40291" y="95345"/>
                  </a:lnTo>
                  <a:cubicBezTo>
                    <a:pt x="39720" y="98679"/>
                    <a:pt x="39053" y="102679"/>
                    <a:pt x="39053" y="105728"/>
                  </a:cubicBezTo>
                  <a:cubicBezTo>
                    <a:pt x="39053" y="119444"/>
                    <a:pt x="48578" y="125635"/>
                    <a:pt x="58008" y="125635"/>
                  </a:cubicBezTo>
                  <a:cubicBezTo>
                    <a:pt x="68675" y="125635"/>
                    <a:pt x="87249" y="120110"/>
                    <a:pt x="92107" y="95060"/>
                  </a:cubicBezTo>
                  <a:lnTo>
                    <a:pt x="110966" y="95"/>
                  </a:lnTo>
                  <a:lnTo>
                    <a:pt x="149066" y="95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6F35D76F-9563-44A6-8C4A-C1F982E7F505}"/>
                </a:ext>
              </a:extLst>
            </p:cNvPr>
            <p:cNvSpPr/>
            <p:nvPr/>
          </p:nvSpPr>
          <p:spPr>
            <a:xfrm>
              <a:off x="1328017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8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8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586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3" y="130588"/>
                    <a:pt x="56198" y="130588"/>
                  </a:cubicBezTo>
                  <a:cubicBezTo>
                    <a:pt x="77914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0FDE4D9E-76F8-49E9-AC42-EC7413AA190D}"/>
                </a:ext>
              </a:extLst>
            </p:cNvPr>
            <p:cNvSpPr/>
            <p:nvPr/>
          </p:nvSpPr>
          <p:spPr>
            <a:xfrm>
              <a:off x="2705755" y="5512949"/>
              <a:ext cx="57455" cy="57455"/>
            </a:xfrm>
            <a:custGeom>
              <a:avLst/>
              <a:gdLst>
                <a:gd name="connsiteX0" fmla="*/ 23639 w 38100"/>
                <a:gd name="connsiteY0" fmla="*/ 0 h 38100"/>
                <a:gd name="connsiteX1" fmla="*/ 17 w 38100"/>
                <a:gd name="connsiteY1" fmla="*/ 22670 h 38100"/>
                <a:gd name="connsiteX2" fmla="*/ 21829 w 38100"/>
                <a:gd name="connsiteY2" fmla="*/ 45339 h 38100"/>
                <a:gd name="connsiteX3" fmla="*/ 45355 w 38100"/>
                <a:gd name="connsiteY3" fmla="*/ 22670 h 38100"/>
                <a:gd name="connsiteX4" fmla="*/ 23639 w 38100"/>
                <a:gd name="connsiteY4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23639" y="0"/>
                  </a:moveTo>
                  <a:cubicBezTo>
                    <a:pt x="11161" y="0"/>
                    <a:pt x="493" y="10192"/>
                    <a:pt x="17" y="22670"/>
                  </a:cubicBezTo>
                  <a:cubicBezTo>
                    <a:pt x="-460" y="35242"/>
                    <a:pt x="9256" y="45339"/>
                    <a:pt x="21829" y="45339"/>
                  </a:cubicBezTo>
                  <a:cubicBezTo>
                    <a:pt x="34307" y="45339"/>
                    <a:pt x="44879" y="35147"/>
                    <a:pt x="45355" y="22670"/>
                  </a:cubicBezTo>
                  <a:cubicBezTo>
                    <a:pt x="45927" y="10096"/>
                    <a:pt x="36212" y="0"/>
                    <a:pt x="23639" y="0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7C6A7C70-DDC8-48D2-9BE5-0E1FC44CD896}"/>
                </a:ext>
              </a:extLst>
            </p:cNvPr>
            <p:cNvSpPr/>
            <p:nvPr/>
          </p:nvSpPr>
          <p:spPr>
            <a:xfrm>
              <a:off x="2427843" y="5606026"/>
              <a:ext cx="201091" cy="244182"/>
            </a:xfrm>
            <a:custGeom>
              <a:avLst/>
              <a:gdLst>
                <a:gd name="connsiteX0" fmla="*/ 78962 w 133350"/>
                <a:gd name="connsiteY0" fmla="*/ 31242 h 161925"/>
                <a:gd name="connsiteX1" fmla="*/ 101441 w 133350"/>
                <a:gd name="connsiteY1" fmla="*/ 57341 h 161925"/>
                <a:gd name="connsiteX2" fmla="*/ 100679 w 133350"/>
                <a:gd name="connsiteY2" fmla="*/ 66961 h 161925"/>
                <a:gd name="connsiteX3" fmla="*/ 42386 w 133350"/>
                <a:gd name="connsiteY3" fmla="*/ 66961 h 161925"/>
                <a:gd name="connsiteX4" fmla="*/ 78962 w 133350"/>
                <a:gd name="connsiteY4" fmla="*/ 31242 h 161925"/>
                <a:gd name="connsiteX5" fmla="*/ 132493 w 133350"/>
                <a:gd name="connsiteY5" fmla="*/ 94583 h 161925"/>
                <a:gd name="connsiteX6" fmla="*/ 137541 w 133350"/>
                <a:gd name="connsiteY6" fmla="*/ 57341 h 161925"/>
                <a:gd name="connsiteX7" fmla="*/ 81153 w 133350"/>
                <a:gd name="connsiteY7" fmla="*/ 0 h 161925"/>
                <a:gd name="connsiteX8" fmla="*/ 0 w 133350"/>
                <a:gd name="connsiteY8" fmla="*/ 107442 h 161925"/>
                <a:gd name="connsiteX9" fmla="*/ 61913 w 133350"/>
                <a:gd name="connsiteY9" fmla="*/ 163830 h 161925"/>
                <a:gd name="connsiteX10" fmla="*/ 116205 w 133350"/>
                <a:gd name="connsiteY10" fmla="*/ 153734 h 161925"/>
                <a:gd name="connsiteX11" fmla="*/ 123158 w 133350"/>
                <a:gd name="connsiteY11" fmla="*/ 118967 h 161925"/>
                <a:gd name="connsiteX12" fmla="*/ 67723 w 133350"/>
                <a:gd name="connsiteY12" fmla="*/ 131826 h 161925"/>
                <a:gd name="connsiteX13" fmla="*/ 36005 w 133350"/>
                <a:gd name="connsiteY13" fmla="*/ 104775 h 161925"/>
                <a:gd name="connsiteX14" fmla="*/ 37052 w 133350"/>
                <a:gd name="connsiteY14" fmla="*/ 94583 h 161925"/>
                <a:gd name="connsiteX15" fmla="*/ 132493 w 133350"/>
                <a:gd name="connsiteY15" fmla="*/ 94583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33350" h="161925">
                  <a:moveTo>
                    <a:pt x="78962" y="31242"/>
                  </a:moveTo>
                  <a:cubicBezTo>
                    <a:pt x="92678" y="31242"/>
                    <a:pt x="101441" y="40862"/>
                    <a:pt x="101441" y="57341"/>
                  </a:cubicBezTo>
                  <a:cubicBezTo>
                    <a:pt x="101441" y="60389"/>
                    <a:pt x="101155" y="63818"/>
                    <a:pt x="100679" y="66961"/>
                  </a:cubicBezTo>
                  <a:lnTo>
                    <a:pt x="42386" y="66961"/>
                  </a:lnTo>
                  <a:cubicBezTo>
                    <a:pt x="49530" y="42101"/>
                    <a:pt x="62960" y="31242"/>
                    <a:pt x="78962" y="31242"/>
                  </a:cubicBezTo>
                  <a:moveTo>
                    <a:pt x="132493" y="94583"/>
                  </a:moveTo>
                  <a:cubicBezTo>
                    <a:pt x="135255" y="82010"/>
                    <a:pt x="137541" y="68009"/>
                    <a:pt x="137541" y="57341"/>
                  </a:cubicBezTo>
                  <a:cubicBezTo>
                    <a:pt x="137541" y="22765"/>
                    <a:pt x="115062" y="0"/>
                    <a:pt x="81153" y="0"/>
                  </a:cubicBezTo>
                  <a:cubicBezTo>
                    <a:pt x="26384" y="0"/>
                    <a:pt x="0" y="53912"/>
                    <a:pt x="0" y="107442"/>
                  </a:cubicBezTo>
                  <a:cubicBezTo>
                    <a:pt x="0" y="149352"/>
                    <a:pt x="30861" y="163830"/>
                    <a:pt x="61913" y="163830"/>
                  </a:cubicBezTo>
                  <a:cubicBezTo>
                    <a:pt x="85820" y="163830"/>
                    <a:pt x="103441" y="159163"/>
                    <a:pt x="116205" y="153734"/>
                  </a:cubicBezTo>
                  <a:lnTo>
                    <a:pt x="123158" y="118967"/>
                  </a:lnTo>
                  <a:cubicBezTo>
                    <a:pt x="115919" y="122968"/>
                    <a:pt x="97727" y="131826"/>
                    <a:pt x="67723" y="131826"/>
                  </a:cubicBezTo>
                  <a:cubicBezTo>
                    <a:pt x="44387" y="131826"/>
                    <a:pt x="36100" y="120396"/>
                    <a:pt x="36005" y="104775"/>
                  </a:cubicBezTo>
                  <a:cubicBezTo>
                    <a:pt x="36005" y="101156"/>
                    <a:pt x="36481" y="98298"/>
                    <a:pt x="37052" y="94583"/>
                  </a:cubicBezTo>
                  <a:lnTo>
                    <a:pt x="132493" y="94583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75D95F1E-868C-403A-B246-C7B1DC6DD709}"/>
                </a:ext>
              </a:extLst>
            </p:cNvPr>
            <p:cNvSpPr/>
            <p:nvPr/>
          </p:nvSpPr>
          <p:spPr>
            <a:xfrm>
              <a:off x="2651342" y="5614356"/>
              <a:ext cx="100546" cy="229819"/>
            </a:xfrm>
            <a:custGeom>
              <a:avLst/>
              <a:gdLst>
                <a:gd name="connsiteX0" fmla="*/ 68961 w 66675"/>
                <a:gd name="connsiteY0" fmla="*/ 0 h 152400"/>
                <a:gd name="connsiteX1" fmla="*/ 37909 w 66675"/>
                <a:gd name="connsiteY1" fmla="*/ 154400 h 152400"/>
                <a:gd name="connsiteX2" fmla="*/ 0 w 66675"/>
                <a:gd name="connsiteY2" fmla="*/ 154400 h 152400"/>
                <a:gd name="connsiteX3" fmla="*/ 30956 w 66675"/>
                <a:gd name="connsiteY3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152400">
                  <a:moveTo>
                    <a:pt x="68961" y="0"/>
                  </a:moveTo>
                  <a:lnTo>
                    <a:pt x="37909" y="154400"/>
                  </a:lnTo>
                  <a:lnTo>
                    <a:pt x="0" y="154400"/>
                  </a:lnTo>
                  <a:lnTo>
                    <a:pt x="30956" y="0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636244D9-16E9-472E-9D88-48A367FA7C1A}"/>
                </a:ext>
              </a:extLst>
            </p:cNvPr>
            <p:cNvSpPr/>
            <p:nvPr/>
          </p:nvSpPr>
          <p:spPr>
            <a:xfrm>
              <a:off x="1914198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6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8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7052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7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340 w 133350"/>
                <a:gd name="connsiteY16" fmla="*/ 162687 h 161925"/>
                <a:gd name="connsiteX17" fmla="*/ 85820 w 133350"/>
                <a:gd name="connsiteY17" fmla="*/ 147066 h 161925"/>
                <a:gd name="connsiteX18" fmla="*/ 83344 w 133350"/>
                <a:gd name="connsiteY18" fmla="*/ 159544 h 161925"/>
                <a:gd name="connsiteX19" fmla="*/ 119729 w 133350"/>
                <a:gd name="connsiteY19" fmla="*/ 159544 h 161925"/>
                <a:gd name="connsiteX20" fmla="*/ 140018 w 133350"/>
                <a:gd name="connsiteY20" fmla="*/ 58483 h 161925"/>
                <a:gd name="connsiteX21" fmla="*/ 141542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964" y="117348"/>
                    <a:pt x="84011" y="122301"/>
                  </a:cubicBezTo>
                  <a:cubicBezTo>
                    <a:pt x="78200" y="128111"/>
                    <a:pt x="69628" y="132112"/>
                    <a:pt x="59246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1" y="88678"/>
                    <a:pt x="65437" y="88678"/>
                  </a:cubicBezTo>
                  <a:lnTo>
                    <a:pt x="96108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7052" y="6001"/>
                  </a:cubicBezTo>
                  <a:lnTo>
                    <a:pt x="30099" y="40291"/>
                  </a:lnTo>
                  <a:cubicBezTo>
                    <a:pt x="39814" y="36195"/>
                    <a:pt x="58103" y="31813"/>
                    <a:pt x="78391" y="31813"/>
                  </a:cubicBezTo>
                  <a:cubicBezTo>
                    <a:pt x="95345" y="31813"/>
                    <a:pt x="103347" y="38195"/>
                    <a:pt x="103347" y="48958"/>
                  </a:cubicBezTo>
                  <a:cubicBezTo>
                    <a:pt x="103347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340" y="162687"/>
                  </a:cubicBezTo>
                  <a:cubicBezTo>
                    <a:pt x="64770" y="162687"/>
                    <a:pt x="76962" y="156020"/>
                    <a:pt x="85820" y="147066"/>
                  </a:cubicBezTo>
                  <a:lnTo>
                    <a:pt x="83344" y="159544"/>
                  </a:lnTo>
                  <a:lnTo>
                    <a:pt x="119729" y="159544"/>
                  </a:lnTo>
                  <a:lnTo>
                    <a:pt x="140018" y="58483"/>
                  </a:lnTo>
                  <a:cubicBezTo>
                    <a:pt x="140875" y="54197"/>
                    <a:pt x="141542" y="48673"/>
                    <a:pt x="141542" y="44387"/>
                  </a:cubicBezTo>
                  <a:cubicBezTo>
                    <a:pt x="141542" y="10478"/>
                    <a:pt x="111729" y="0"/>
                    <a:pt x="85154" y="0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4" name="Freihandform: Form 43">
              <a:extLst>
                <a:ext uri="{FF2B5EF4-FFF2-40B4-BE49-F238E27FC236}">
                  <a16:creationId xmlns:a16="http://schemas.microsoft.com/office/drawing/2014/main" id="{DEB8C042-1545-48E0-ACEE-6737B7A7AC41}"/>
                </a:ext>
              </a:extLst>
            </p:cNvPr>
            <p:cNvSpPr/>
            <p:nvPr/>
          </p:nvSpPr>
          <p:spPr>
            <a:xfrm>
              <a:off x="1117732" y="5606744"/>
              <a:ext cx="186728" cy="244182"/>
            </a:xfrm>
            <a:custGeom>
              <a:avLst/>
              <a:gdLst>
                <a:gd name="connsiteX0" fmla="*/ 127731 w 123825"/>
                <a:gd name="connsiteY0" fmla="*/ 9239 h 161925"/>
                <a:gd name="connsiteX1" fmla="*/ 121349 w 123825"/>
                <a:gd name="connsiteY1" fmla="*/ 41148 h 161925"/>
                <a:gd name="connsiteX2" fmla="*/ 79534 w 123825"/>
                <a:gd name="connsiteY2" fmla="*/ 31242 h 161925"/>
                <a:gd name="connsiteX3" fmla="*/ 50959 w 123825"/>
                <a:gd name="connsiteY3" fmla="*/ 50482 h 161925"/>
                <a:gd name="connsiteX4" fmla="*/ 65627 w 123825"/>
                <a:gd name="connsiteY4" fmla="*/ 62389 h 161925"/>
                <a:gd name="connsiteX5" fmla="*/ 86106 w 123825"/>
                <a:gd name="connsiteY5" fmla="*/ 65722 h 161925"/>
                <a:gd name="connsiteX6" fmla="*/ 124683 w 123825"/>
                <a:gd name="connsiteY6" fmla="*/ 106966 h 161925"/>
                <a:gd name="connsiteX7" fmla="*/ 107538 w 123825"/>
                <a:gd name="connsiteY7" fmla="*/ 145447 h 161925"/>
                <a:gd name="connsiteX8" fmla="*/ 53721 w 123825"/>
                <a:gd name="connsiteY8" fmla="*/ 162878 h 161925"/>
                <a:gd name="connsiteX9" fmla="*/ 0 w 123825"/>
                <a:gd name="connsiteY9" fmla="*/ 148114 h 161925"/>
                <a:gd name="connsiteX10" fmla="*/ 7144 w 123825"/>
                <a:gd name="connsiteY10" fmla="*/ 112586 h 161925"/>
                <a:gd name="connsiteX11" fmla="*/ 56198 w 123825"/>
                <a:gd name="connsiteY11" fmla="*/ 130588 h 161925"/>
                <a:gd name="connsiteX12" fmla="*/ 87059 w 123825"/>
                <a:gd name="connsiteY12" fmla="*/ 110680 h 161925"/>
                <a:gd name="connsiteX13" fmla="*/ 72104 w 123825"/>
                <a:gd name="connsiteY13" fmla="*/ 97536 h 161925"/>
                <a:gd name="connsiteX14" fmla="*/ 51340 w 123825"/>
                <a:gd name="connsiteY14" fmla="*/ 94202 h 161925"/>
                <a:gd name="connsiteX15" fmla="*/ 13145 w 123825"/>
                <a:gd name="connsiteY15" fmla="*/ 58103 h 161925"/>
                <a:gd name="connsiteX16" fmla="*/ 29337 w 123825"/>
                <a:gd name="connsiteY16" fmla="*/ 18383 h 161925"/>
                <a:gd name="connsiteX17" fmla="*/ 82201 w 123825"/>
                <a:gd name="connsiteY17" fmla="*/ 0 h 161925"/>
                <a:gd name="connsiteX18" fmla="*/ 127731 w 123825"/>
                <a:gd name="connsiteY18" fmla="*/ 9239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161925">
                  <a:moveTo>
                    <a:pt x="127731" y="9239"/>
                  </a:moveTo>
                  <a:lnTo>
                    <a:pt x="121349" y="41148"/>
                  </a:lnTo>
                  <a:cubicBezTo>
                    <a:pt x="116491" y="38576"/>
                    <a:pt x="101632" y="31242"/>
                    <a:pt x="79534" y="31242"/>
                  </a:cubicBezTo>
                  <a:cubicBezTo>
                    <a:pt x="60293" y="31242"/>
                    <a:pt x="50959" y="40672"/>
                    <a:pt x="50959" y="50482"/>
                  </a:cubicBezTo>
                  <a:cubicBezTo>
                    <a:pt x="50959" y="57150"/>
                    <a:pt x="55912" y="60865"/>
                    <a:pt x="65627" y="62389"/>
                  </a:cubicBezTo>
                  <a:lnTo>
                    <a:pt x="86106" y="65722"/>
                  </a:lnTo>
                  <a:cubicBezTo>
                    <a:pt x="114491" y="70295"/>
                    <a:pt x="124587" y="84963"/>
                    <a:pt x="124683" y="106966"/>
                  </a:cubicBezTo>
                  <a:cubicBezTo>
                    <a:pt x="124683" y="122872"/>
                    <a:pt x="117920" y="135350"/>
                    <a:pt x="107538" y="145447"/>
                  </a:cubicBezTo>
                  <a:cubicBezTo>
                    <a:pt x="94679" y="158020"/>
                    <a:pt x="74295" y="162878"/>
                    <a:pt x="53721" y="162878"/>
                  </a:cubicBezTo>
                  <a:cubicBezTo>
                    <a:pt x="33338" y="162878"/>
                    <a:pt x="10478" y="154496"/>
                    <a:pt x="0" y="148114"/>
                  </a:cubicBezTo>
                  <a:lnTo>
                    <a:pt x="7144" y="112586"/>
                  </a:lnTo>
                  <a:cubicBezTo>
                    <a:pt x="15621" y="119729"/>
                    <a:pt x="35624" y="130588"/>
                    <a:pt x="56198" y="130588"/>
                  </a:cubicBezTo>
                  <a:cubicBezTo>
                    <a:pt x="77915" y="130588"/>
                    <a:pt x="87059" y="120205"/>
                    <a:pt x="87059" y="110680"/>
                  </a:cubicBezTo>
                  <a:cubicBezTo>
                    <a:pt x="87059" y="102108"/>
                    <a:pt x="81249" y="99060"/>
                    <a:pt x="72104" y="97536"/>
                  </a:cubicBezTo>
                  <a:lnTo>
                    <a:pt x="51340" y="94202"/>
                  </a:lnTo>
                  <a:cubicBezTo>
                    <a:pt x="22289" y="89345"/>
                    <a:pt x="13145" y="73152"/>
                    <a:pt x="13145" y="58103"/>
                  </a:cubicBezTo>
                  <a:cubicBezTo>
                    <a:pt x="13145" y="43434"/>
                    <a:pt x="18669" y="29051"/>
                    <a:pt x="29337" y="18383"/>
                  </a:cubicBezTo>
                  <a:cubicBezTo>
                    <a:pt x="41243" y="6477"/>
                    <a:pt x="59531" y="0"/>
                    <a:pt x="82201" y="0"/>
                  </a:cubicBezTo>
                  <a:cubicBezTo>
                    <a:pt x="98679" y="0"/>
                    <a:pt x="117253" y="4000"/>
                    <a:pt x="127731" y="9239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1C3EF4D3-9165-452B-896C-3A133E8C7FEE}"/>
                </a:ext>
              </a:extLst>
            </p:cNvPr>
            <p:cNvSpPr/>
            <p:nvPr/>
          </p:nvSpPr>
          <p:spPr>
            <a:xfrm>
              <a:off x="2154790" y="5521567"/>
              <a:ext cx="287273" cy="316001"/>
            </a:xfrm>
            <a:custGeom>
              <a:avLst/>
              <a:gdLst>
                <a:gd name="connsiteX0" fmla="*/ 12859 w 190500"/>
                <a:gd name="connsiteY0" fmla="*/ 63246 h 209550"/>
                <a:gd name="connsiteX1" fmla="*/ 30766 w 190500"/>
                <a:gd name="connsiteY1" fmla="*/ 63246 h 209550"/>
                <a:gd name="connsiteX2" fmla="*/ 34671 w 190500"/>
                <a:gd name="connsiteY2" fmla="*/ 43720 h 209550"/>
                <a:gd name="connsiteX3" fmla="*/ 86583 w 190500"/>
                <a:gd name="connsiteY3" fmla="*/ 0 h 209550"/>
                <a:gd name="connsiteX4" fmla="*/ 108776 w 190500"/>
                <a:gd name="connsiteY4" fmla="*/ 0 h 209550"/>
                <a:gd name="connsiteX5" fmla="*/ 102394 w 190500"/>
                <a:gd name="connsiteY5" fmla="*/ 32099 h 209550"/>
                <a:gd name="connsiteX6" fmla="*/ 89249 w 190500"/>
                <a:gd name="connsiteY6" fmla="*/ 32099 h 209550"/>
                <a:gd name="connsiteX7" fmla="*/ 71819 w 190500"/>
                <a:gd name="connsiteY7" fmla="*/ 47720 h 209550"/>
                <a:gd name="connsiteX8" fmla="*/ 68675 w 190500"/>
                <a:gd name="connsiteY8" fmla="*/ 63341 h 209550"/>
                <a:gd name="connsiteX9" fmla="*/ 120396 w 190500"/>
                <a:gd name="connsiteY9" fmla="*/ 63341 h 209550"/>
                <a:gd name="connsiteX10" fmla="*/ 124301 w 190500"/>
                <a:gd name="connsiteY10" fmla="*/ 43815 h 209550"/>
                <a:gd name="connsiteX11" fmla="*/ 176213 w 190500"/>
                <a:gd name="connsiteY11" fmla="*/ 95 h 209550"/>
                <a:gd name="connsiteX12" fmla="*/ 198406 w 190500"/>
                <a:gd name="connsiteY12" fmla="*/ 95 h 209550"/>
                <a:gd name="connsiteX13" fmla="*/ 191929 w 190500"/>
                <a:gd name="connsiteY13" fmla="*/ 32194 h 209550"/>
                <a:gd name="connsiteX14" fmla="*/ 178880 w 190500"/>
                <a:gd name="connsiteY14" fmla="*/ 32194 h 209550"/>
                <a:gd name="connsiteX15" fmla="*/ 161449 w 190500"/>
                <a:gd name="connsiteY15" fmla="*/ 47815 h 209550"/>
                <a:gd name="connsiteX16" fmla="*/ 158305 w 190500"/>
                <a:gd name="connsiteY16" fmla="*/ 63437 h 209550"/>
                <a:gd name="connsiteX17" fmla="*/ 186404 w 190500"/>
                <a:gd name="connsiteY17" fmla="*/ 63437 h 209550"/>
                <a:gd name="connsiteX18" fmla="*/ 180594 w 190500"/>
                <a:gd name="connsiteY18" fmla="*/ 92488 h 209550"/>
                <a:gd name="connsiteX19" fmla="*/ 152495 w 190500"/>
                <a:gd name="connsiteY19" fmla="*/ 92488 h 209550"/>
                <a:gd name="connsiteX20" fmla="*/ 127635 w 190500"/>
                <a:gd name="connsiteY20" fmla="*/ 216217 h 209550"/>
                <a:gd name="connsiteX21" fmla="*/ 89726 w 190500"/>
                <a:gd name="connsiteY21" fmla="*/ 216217 h 209550"/>
                <a:gd name="connsiteX22" fmla="*/ 114491 w 190500"/>
                <a:gd name="connsiteY22" fmla="*/ 92488 h 209550"/>
                <a:gd name="connsiteX23" fmla="*/ 62770 w 190500"/>
                <a:gd name="connsiteY23" fmla="*/ 92488 h 209550"/>
                <a:gd name="connsiteX24" fmla="*/ 37910 w 190500"/>
                <a:gd name="connsiteY24" fmla="*/ 216217 h 209550"/>
                <a:gd name="connsiteX25" fmla="*/ 0 w 190500"/>
                <a:gd name="connsiteY25" fmla="*/ 216217 h 209550"/>
                <a:gd name="connsiteX26" fmla="*/ 24861 w 190500"/>
                <a:gd name="connsiteY26" fmla="*/ 92488 h 209550"/>
                <a:gd name="connsiteX27" fmla="*/ 6954 w 190500"/>
                <a:gd name="connsiteY27" fmla="*/ 92488 h 209550"/>
                <a:gd name="connsiteX28" fmla="*/ 12859 w 190500"/>
                <a:gd name="connsiteY28" fmla="*/ 63246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90500" h="209550">
                  <a:moveTo>
                    <a:pt x="12859" y="63246"/>
                  </a:moveTo>
                  <a:lnTo>
                    <a:pt x="30766" y="63246"/>
                  </a:lnTo>
                  <a:lnTo>
                    <a:pt x="34671" y="43720"/>
                  </a:lnTo>
                  <a:cubicBezTo>
                    <a:pt x="40291" y="15907"/>
                    <a:pt x="57245" y="0"/>
                    <a:pt x="86583" y="0"/>
                  </a:cubicBezTo>
                  <a:lnTo>
                    <a:pt x="108776" y="0"/>
                  </a:lnTo>
                  <a:lnTo>
                    <a:pt x="102394" y="32099"/>
                  </a:lnTo>
                  <a:lnTo>
                    <a:pt x="89249" y="32099"/>
                  </a:lnTo>
                  <a:cubicBezTo>
                    <a:pt x="80106" y="32099"/>
                    <a:pt x="74009" y="36957"/>
                    <a:pt x="71819" y="47720"/>
                  </a:cubicBezTo>
                  <a:lnTo>
                    <a:pt x="68675" y="63341"/>
                  </a:lnTo>
                  <a:lnTo>
                    <a:pt x="120396" y="63341"/>
                  </a:lnTo>
                  <a:lnTo>
                    <a:pt x="124301" y="43815"/>
                  </a:lnTo>
                  <a:cubicBezTo>
                    <a:pt x="129826" y="16002"/>
                    <a:pt x="146876" y="95"/>
                    <a:pt x="176213" y="95"/>
                  </a:cubicBezTo>
                  <a:lnTo>
                    <a:pt x="198406" y="95"/>
                  </a:lnTo>
                  <a:lnTo>
                    <a:pt x="191929" y="32194"/>
                  </a:lnTo>
                  <a:lnTo>
                    <a:pt x="178880" y="32194"/>
                  </a:lnTo>
                  <a:cubicBezTo>
                    <a:pt x="169736" y="32194"/>
                    <a:pt x="163545" y="37052"/>
                    <a:pt x="161449" y="47815"/>
                  </a:cubicBezTo>
                  <a:lnTo>
                    <a:pt x="158305" y="63437"/>
                  </a:lnTo>
                  <a:lnTo>
                    <a:pt x="186404" y="63437"/>
                  </a:lnTo>
                  <a:lnTo>
                    <a:pt x="180594" y="92488"/>
                  </a:lnTo>
                  <a:lnTo>
                    <a:pt x="152495" y="92488"/>
                  </a:lnTo>
                  <a:lnTo>
                    <a:pt x="127635" y="216217"/>
                  </a:lnTo>
                  <a:lnTo>
                    <a:pt x="89726" y="216217"/>
                  </a:lnTo>
                  <a:lnTo>
                    <a:pt x="114491" y="92488"/>
                  </a:lnTo>
                  <a:lnTo>
                    <a:pt x="62770" y="92488"/>
                  </a:lnTo>
                  <a:lnTo>
                    <a:pt x="37910" y="216217"/>
                  </a:lnTo>
                  <a:lnTo>
                    <a:pt x="0" y="216217"/>
                  </a:lnTo>
                  <a:lnTo>
                    <a:pt x="24861" y="92488"/>
                  </a:lnTo>
                  <a:lnTo>
                    <a:pt x="6954" y="92488"/>
                  </a:lnTo>
                  <a:lnTo>
                    <a:pt x="12859" y="63246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6338BB7D-F20C-476B-A250-D53E4A1A5D6E}"/>
                </a:ext>
              </a:extLst>
            </p:cNvPr>
            <p:cNvSpPr/>
            <p:nvPr/>
          </p:nvSpPr>
          <p:spPr>
            <a:xfrm>
              <a:off x="637269" y="5606744"/>
              <a:ext cx="201091" cy="244182"/>
            </a:xfrm>
            <a:custGeom>
              <a:avLst/>
              <a:gdLst>
                <a:gd name="connsiteX0" fmla="*/ 93440 w 133350"/>
                <a:gd name="connsiteY0" fmla="*/ 102108 h 161925"/>
                <a:gd name="connsiteX1" fmla="*/ 84011 w 133350"/>
                <a:gd name="connsiteY1" fmla="*/ 122301 h 161925"/>
                <a:gd name="connsiteX2" fmla="*/ 59245 w 133350"/>
                <a:gd name="connsiteY2" fmla="*/ 132112 h 161925"/>
                <a:gd name="connsiteX3" fmla="*/ 37338 w 133350"/>
                <a:gd name="connsiteY3" fmla="*/ 114014 h 161925"/>
                <a:gd name="connsiteX4" fmla="*/ 65437 w 133350"/>
                <a:gd name="connsiteY4" fmla="*/ 88678 h 161925"/>
                <a:gd name="connsiteX5" fmla="*/ 96107 w 133350"/>
                <a:gd name="connsiteY5" fmla="*/ 88678 h 161925"/>
                <a:gd name="connsiteX6" fmla="*/ 93440 w 133350"/>
                <a:gd name="connsiteY6" fmla="*/ 102108 h 161925"/>
                <a:gd name="connsiteX7" fmla="*/ 85154 w 133350"/>
                <a:gd name="connsiteY7" fmla="*/ 0 h 161925"/>
                <a:gd name="connsiteX8" fmla="*/ 36957 w 133350"/>
                <a:gd name="connsiteY8" fmla="*/ 6001 h 161925"/>
                <a:gd name="connsiteX9" fmla="*/ 30099 w 133350"/>
                <a:gd name="connsiteY9" fmla="*/ 40291 h 161925"/>
                <a:gd name="connsiteX10" fmla="*/ 78391 w 133350"/>
                <a:gd name="connsiteY10" fmla="*/ 31813 h 161925"/>
                <a:gd name="connsiteX11" fmla="*/ 103346 w 133350"/>
                <a:gd name="connsiteY11" fmla="*/ 48958 h 161925"/>
                <a:gd name="connsiteX12" fmla="*/ 102394 w 133350"/>
                <a:gd name="connsiteY12" fmla="*/ 57245 h 161925"/>
                <a:gd name="connsiteX13" fmla="*/ 101441 w 133350"/>
                <a:gd name="connsiteY13" fmla="*/ 62198 h 161925"/>
                <a:gd name="connsiteX14" fmla="*/ 61817 w 133350"/>
                <a:gd name="connsiteY14" fmla="*/ 62198 h 161925"/>
                <a:gd name="connsiteX15" fmla="*/ 0 w 133350"/>
                <a:gd name="connsiteY15" fmla="*/ 120872 h 161925"/>
                <a:gd name="connsiteX16" fmla="*/ 47244 w 133350"/>
                <a:gd name="connsiteY16" fmla="*/ 162687 h 161925"/>
                <a:gd name="connsiteX17" fmla="*/ 85725 w 133350"/>
                <a:gd name="connsiteY17" fmla="*/ 147066 h 161925"/>
                <a:gd name="connsiteX18" fmla="*/ 83248 w 133350"/>
                <a:gd name="connsiteY18" fmla="*/ 159544 h 161925"/>
                <a:gd name="connsiteX19" fmla="*/ 119634 w 133350"/>
                <a:gd name="connsiteY19" fmla="*/ 159544 h 161925"/>
                <a:gd name="connsiteX20" fmla="*/ 139922 w 133350"/>
                <a:gd name="connsiteY20" fmla="*/ 58483 h 161925"/>
                <a:gd name="connsiteX21" fmla="*/ 141446 w 133350"/>
                <a:gd name="connsiteY21" fmla="*/ 44387 h 161925"/>
                <a:gd name="connsiteX22" fmla="*/ 85154 w 133350"/>
                <a:gd name="connsiteY22" fmla="*/ 0 h 16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3350" h="161925">
                  <a:moveTo>
                    <a:pt x="93440" y="102108"/>
                  </a:moveTo>
                  <a:cubicBezTo>
                    <a:pt x="91916" y="110014"/>
                    <a:pt x="88868" y="117348"/>
                    <a:pt x="84011" y="122301"/>
                  </a:cubicBezTo>
                  <a:cubicBezTo>
                    <a:pt x="78200" y="128111"/>
                    <a:pt x="69628" y="132112"/>
                    <a:pt x="59245" y="132112"/>
                  </a:cubicBezTo>
                  <a:cubicBezTo>
                    <a:pt x="45244" y="132112"/>
                    <a:pt x="37338" y="122872"/>
                    <a:pt x="37338" y="114014"/>
                  </a:cubicBezTo>
                  <a:cubicBezTo>
                    <a:pt x="37338" y="99822"/>
                    <a:pt x="47910" y="88678"/>
                    <a:pt x="65437" y="88678"/>
                  </a:cubicBezTo>
                  <a:lnTo>
                    <a:pt x="96107" y="88678"/>
                  </a:lnTo>
                  <a:lnTo>
                    <a:pt x="93440" y="102108"/>
                  </a:lnTo>
                  <a:close/>
                  <a:moveTo>
                    <a:pt x="85154" y="0"/>
                  </a:moveTo>
                  <a:cubicBezTo>
                    <a:pt x="60674" y="0"/>
                    <a:pt x="42863" y="4000"/>
                    <a:pt x="36957" y="6001"/>
                  </a:cubicBezTo>
                  <a:lnTo>
                    <a:pt x="30099" y="40291"/>
                  </a:lnTo>
                  <a:cubicBezTo>
                    <a:pt x="39814" y="36195"/>
                    <a:pt x="58102" y="31813"/>
                    <a:pt x="78391" y="31813"/>
                  </a:cubicBezTo>
                  <a:cubicBezTo>
                    <a:pt x="95345" y="31813"/>
                    <a:pt x="103346" y="38195"/>
                    <a:pt x="103346" y="48958"/>
                  </a:cubicBezTo>
                  <a:cubicBezTo>
                    <a:pt x="103346" y="52006"/>
                    <a:pt x="102965" y="54483"/>
                    <a:pt x="102394" y="57245"/>
                  </a:cubicBezTo>
                  <a:lnTo>
                    <a:pt x="101441" y="62198"/>
                  </a:lnTo>
                  <a:lnTo>
                    <a:pt x="61817" y="62198"/>
                  </a:lnTo>
                  <a:cubicBezTo>
                    <a:pt x="28194" y="62198"/>
                    <a:pt x="0" y="84772"/>
                    <a:pt x="0" y="120872"/>
                  </a:cubicBezTo>
                  <a:cubicBezTo>
                    <a:pt x="0" y="144971"/>
                    <a:pt x="19431" y="162687"/>
                    <a:pt x="47244" y="162687"/>
                  </a:cubicBezTo>
                  <a:cubicBezTo>
                    <a:pt x="64675" y="162687"/>
                    <a:pt x="76867" y="156020"/>
                    <a:pt x="85725" y="147066"/>
                  </a:cubicBezTo>
                  <a:lnTo>
                    <a:pt x="83248" y="159544"/>
                  </a:lnTo>
                  <a:lnTo>
                    <a:pt x="119634" y="159544"/>
                  </a:lnTo>
                  <a:lnTo>
                    <a:pt x="139922" y="58483"/>
                  </a:lnTo>
                  <a:cubicBezTo>
                    <a:pt x="140779" y="54197"/>
                    <a:pt x="141446" y="48673"/>
                    <a:pt x="141446" y="44387"/>
                  </a:cubicBezTo>
                  <a:cubicBezTo>
                    <a:pt x="141541" y="10478"/>
                    <a:pt x="111728" y="0"/>
                    <a:pt x="85154" y="0"/>
                  </a:cubicBezTo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2AB5A7C4-0678-47CB-87AF-E6012C712C10}"/>
                </a:ext>
              </a:extLst>
            </p:cNvPr>
            <p:cNvSpPr/>
            <p:nvPr/>
          </p:nvSpPr>
          <p:spPr>
            <a:xfrm>
              <a:off x="223019" y="5521567"/>
              <a:ext cx="301637" cy="316001"/>
            </a:xfrm>
            <a:custGeom>
              <a:avLst/>
              <a:gdLst>
                <a:gd name="connsiteX0" fmla="*/ 65341 w 200025"/>
                <a:gd name="connsiteY0" fmla="*/ 92012 h 209550"/>
                <a:gd name="connsiteX1" fmla="*/ 154210 w 200025"/>
                <a:gd name="connsiteY1" fmla="*/ 0 h 209550"/>
                <a:gd name="connsiteX2" fmla="*/ 205835 w 200025"/>
                <a:gd name="connsiteY2" fmla="*/ 0 h 209550"/>
                <a:gd name="connsiteX3" fmla="*/ 118300 w 200025"/>
                <a:gd name="connsiteY3" fmla="*/ 86296 h 209550"/>
                <a:gd name="connsiteX4" fmla="*/ 167450 w 200025"/>
                <a:gd name="connsiteY4" fmla="*/ 215932 h 209550"/>
                <a:gd name="connsiteX5" fmla="*/ 121920 w 200025"/>
                <a:gd name="connsiteY5" fmla="*/ 215932 h 209550"/>
                <a:gd name="connsiteX6" fmla="*/ 87344 w 200025"/>
                <a:gd name="connsiteY6" fmla="*/ 116681 h 209550"/>
                <a:gd name="connsiteX7" fmla="*/ 53816 w 200025"/>
                <a:gd name="connsiteY7" fmla="*/ 149828 h 209550"/>
                <a:gd name="connsiteX8" fmla="*/ 40481 w 200025"/>
                <a:gd name="connsiteY8" fmla="*/ 215932 h 209550"/>
                <a:gd name="connsiteX9" fmla="*/ 0 w 200025"/>
                <a:gd name="connsiteY9" fmla="*/ 215932 h 209550"/>
                <a:gd name="connsiteX10" fmla="*/ 43434 w 200025"/>
                <a:gd name="connsiteY10" fmla="*/ 0 h 209550"/>
                <a:gd name="connsiteX11" fmla="*/ 83820 w 200025"/>
                <a:gd name="connsiteY11" fmla="*/ 0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0025" h="209550">
                  <a:moveTo>
                    <a:pt x="65341" y="92012"/>
                  </a:moveTo>
                  <a:lnTo>
                    <a:pt x="154210" y="0"/>
                  </a:lnTo>
                  <a:lnTo>
                    <a:pt x="205835" y="0"/>
                  </a:lnTo>
                  <a:lnTo>
                    <a:pt x="118300" y="86296"/>
                  </a:lnTo>
                  <a:lnTo>
                    <a:pt x="167450" y="215932"/>
                  </a:lnTo>
                  <a:lnTo>
                    <a:pt x="121920" y="215932"/>
                  </a:lnTo>
                  <a:lnTo>
                    <a:pt x="87344" y="116681"/>
                  </a:lnTo>
                  <a:lnTo>
                    <a:pt x="53816" y="149828"/>
                  </a:lnTo>
                  <a:lnTo>
                    <a:pt x="40481" y="215932"/>
                  </a:lnTo>
                  <a:lnTo>
                    <a:pt x="0" y="215932"/>
                  </a:lnTo>
                  <a:lnTo>
                    <a:pt x="43434" y="0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56667CE6-AF07-4E5E-BC8D-02A9101D9225}"/>
                </a:ext>
              </a:extLst>
            </p:cNvPr>
            <p:cNvSpPr/>
            <p:nvPr/>
          </p:nvSpPr>
          <p:spPr>
            <a:xfrm>
              <a:off x="1579955" y="5521567"/>
              <a:ext cx="344728" cy="316001"/>
            </a:xfrm>
            <a:custGeom>
              <a:avLst/>
              <a:gdLst>
                <a:gd name="connsiteX0" fmla="*/ 43434 w 228600"/>
                <a:gd name="connsiteY0" fmla="*/ 0 h 209550"/>
                <a:gd name="connsiteX1" fmla="*/ 80581 w 228600"/>
                <a:gd name="connsiteY1" fmla="*/ 0 h 209550"/>
                <a:gd name="connsiteX2" fmla="*/ 111442 w 228600"/>
                <a:gd name="connsiteY2" fmla="*/ 116110 h 209550"/>
                <a:gd name="connsiteX3" fmla="*/ 190214 w 228600"/>
                <a:gd name="connsiteY3" fmla="*/ 0 h 209550"/>
                <a:gd name="connsiteX4" fmla="*/ 228885 w 228600"/>
                <a:gd name="connsiteY4" fmla="*/ 0 h 209550"/>
                <a:gd name="connsiteX5" fmla="*/ 185547 w 228600"/>
                <a:gd name="connsiteY5" fmla="*/ 216027 h 209550"/>
                <a:gd name="connsiteX6" fmla="*/ 146018 w 228600"/>
                <a:gd name="connsiteY6" fmla="*/ 216027 h 209550"/>
                <a:gd name="connsiteX7" fmla="*/ 171450 w 228600"/>
                <a:gd name="connsiteY7" fmla="*/ 89154 h 209550"/>
                <a:gd name="connsiteX8" fmla="*/ 116967 w 228600"/>
                <a:gd name="connsiteY8" fmla="*/ 169259 h 209550"/>
                <a:gd name="connsiteX9" fmla="*/ 89725 w 228600"/>
                <a:gd name="connsiteY9" fmla="*/ 169259 h 209550"/>
                <a:gd name="connsiteX10" fmla="*/ 65246 w 228600"/>
                <a:gd name="connsiteY10" fmla="*/ 88297 h 209550"/>
                <a:gd name="connsiteX11" fmla="*/ 39624 w 228600"/>
                <a:gd name="connsiteY11" fmla="*/ 216027 h 209550"/>
                <a:gd name="connsiteX12" fmla="*/ 0 w 228600"/>
                <a:gd name="connsiteY12" fmla="*/ 216027 h 209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28600" h="209550">
                  <a:moveTo>
                    <a:pt x="43434" y="0"/>
                  </a:moveTo>
                  <a:lnTo>
                    <a:pt x="80581" y="0"/>
                  </a:lnTo>
                  <a:lnTo>
                    <a:pt x="111442" y="116110"/>
                  </a:lnTo>
                  <a:lnTo>
                    <a:pt x="190214" y="0"/>
                  </a:lnTo>
                  <a:lnTo>
                    <a:pt x="228885" y="0"/>
                  </a:lnTo>
                  <a:lnTo>
                    <a:pt x="185547" y="216027"/>
                  </a:lnTo>
                  <a:lnTo>
                    <a:pt x="146018" y="216027"/>
                  </a:lnTo>
                  <a:lnTo>
                    <a:pt x="171450" y="89154"/>
                  </a:lnTo>
                  <a:lnTo>
                    <a:pt x="116967" y="169259"/>
                  </a:lnTo>
                  <a:lnTo>
                    <a:pt x="89725" y="169259"/>
                  </a:lnTo>
                  <a:lnTo>
                    <a:pt x="65246" y="88297"/>
                  </a:lnTo>
                  <a:lnTo>
                    <a:pt x="39624" y="216027"/>
                  </a:lnTo>
                  <a:lnTo>
                    <a:pt x="0" y="216027"/>
                  </a:lnTo>
                  <a:close/>
                </a:path>
              </a:pathLst>
            </a:custGeom>
            <a:solidFill>
              <a:srgbClr val="0078C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50" name="Freihandform: Form 49">
            <a:extLst>
              <a:ext uri="{FF2B5EF4-FFF2-40B4-BE49-F238E27FC236}">
                <a16:creationId xmlns:a16="http://schemas.microsoft.com/office/drawing/2014/main" id="{9F2A1309-76CB-4D87-8965-9C3893600BE3}"/>
              </a:ext>
            </a:extLst>
          </p:cNvPr>
          <p:cNvSpPr/>
          <p:nvPr userDrawn="1"/>
        </p:nvSpPr>
        <p:spPr>
          <a:xfrm>
            <a:off x="1796103" y="6422713"/>
            <a:ext cx="1189211" cy="131809"/>
          </a:xfrm>
          <a:custGeom>
            <a:avLst/>
            <a:gdLst>
              <a:gd name="connsiteX0" fmla="*/ 3869817 w 3867150"/>
              <a:gd name="connsiteY0" fmla="*/ 118300 h 428625"/>
              <a:gd name="connsiteX1" fmla="*/ 3787617 w 3867150"/>
              <a:gd name="connsiteY1" fmla="*/ 87916 h 428625"/>
              <a:gd name="connsiteX2" fmla="*/ 3705416 w 3867150"/>
              <a:gd name="connsiteY2" fmla="*/ 116396 h 428625"/>
              <a:gd name="connsiteX3" fmla="*/ 3680270 w 3867150"/>
              <a:gd name="connsiteY3" fmla="*/ 178213 h 428625"/>
              <a:gd name="connsiteX4" fmla="*/ 3739610 w 3867150"/>
              <a:gd name="connsiteY4" fmla="*/ 234315 h 428625"/>
              <a:gd name="connsiteX5" fmla="*/ 3771995 w 3867150"/>
              <a:gd name="connsiteY5" fmla="*/ 239554 h 428625"/>
              <a:gd name="connsiteX6" fmla="*/ 3795332 w 3867150"/>
              <a:gd name="connsiteY6" fmla="*/ 260032 h 428625"/>
              <a:gd name="connsiteX7" fmla="*/ 3744944 w 3867150"/>
              <a:gd name="connsiteY7" fmla="*/ 290894 h 428625"/>
              <a:gd name="connsiteX8" fmla="*/ 3687985 w 3867150"/>
              <a:gd name="connsiteY8" fmla="*/ 267081 h 428625"/>
              <a:gd name="connsiteX9" fmla="*/ 3645694 w 3867150"/>
              <a:gd name="connsiteY9" fmla="*/ 304133 h 428625"/>
              <a:gd name="connsiteX10" fmla="*/ 3741135 w 3867150"/>
              <a:gd name="connsiteY10" fmla="*/ 341186 h 428625"/>
              <a:gd name="connsiteX11" fmla="*/ 3827145 w 3867150"/>
              <a:gd name="connsiteY11" fmla="*/ 314134 h 428625"/>
              <a:gd name="connsiteX12" fmla="*/ 3853720 w 3867150"/>
              <a:gd name="connsiteY12" fmla="*/ 254222 h 428625"/>
              <a:gd name="connsiteX13" fmla="*/ 3793903 w 3867150"/>
              <a:gd name="connsiteY13" fmla="*/ 190024 h 428625"/>
              <a:gd name="connsiteX14" fmla="*/ 3761994 w 3867150"/>
              <a:gd name="connsiteY14" fmla="*/ 184785 h 428625"/>
              <a:gd name="connsiteX15" fmla="*/ 3739134 w 3867150"/>
              <a:gd name="connsiteY15" fmla="*/ 166211 h 428625"/>
              <a:gd name="connsiteX16" fmla="*/ 3782377 w 3867150"/>
              <a:gd name="connsiteY16" fmla="*/ 136303 h 428625"/>
              <a:gd name="connsiteX17" fmla="*/ 3829431 w 3867150"/>
              <a:gd name="connsiteY17" fmla="*/ 153924 h 428625"/>
              <a:gd name="connsiteX18" fmla="*/ 3869817 w 3867150"/>
              <a:gd name="connsiteY18" fmla="*/ 118300 h 428625"/>
              <a:gd name="connsiteX19" fmla="*/ 3661220 w 3867150"/>
              <a:gd name="connsiteY19" fmla="*/ 122111 h 428625"/>
              <a:gd name="connsiteX20" fmla="*/ 3588544 w 3867150"/>
              <a:gd name="connsiteY20" fmla="*/ 87916 h 428625"/>
              <a:gd name="connsiteX21" fmla="*/ 3462623 w 3867150"/>
              <a:gd name="connsiteY21" fmla="*/ 214313 h 428625"/>
              <a:gd name="connsiteX22" fmla="*/ 3458813 w 3867150"/>
              <a:gd name="connsiteY22" fmla="*/ 252794 h 428625"/>
              <a:gd name="connsiteX23" fmla="*/ 3547586 w 3867150"/>
              <a:gd name="connsiteY23" fmla="*/ 341186 h 428625"/>
              <a:gd name="connsiteX24" fmla="*/ 3629311 w 3867150"/>
              <a:gd name="connsiteY24" fmla="*/ 309848 h 428625"/>
              <a:gd name="connsiteX25" fmla="*/ 3596545 w 3867150"/>
              <a:gd name="connsiteY25" fmla="*/ 267557 h 428625"/>
              <a:gd name="connsiteX26" fmla="*/ 3553301 w 3867150"/>
              <a:gd name="connsiteY26" fmla="*/ 288512 h 428625"/>
              <a:gd name="connsiteX27" fmla="*/ 3518154 w 3867150"/>
              <a:gd name="connsiteY27" fmla="*/ 246221 h 428625"/>
              <a:gd name="connsiteX28" fmla="*/ 3521488 w 3867150"/>
              <a:gd name="connsiteY28" fmla="*/ 214313 h 428625"/>
              <a:gd name="connsiteX29" fmla="*/ 3547586 w 3867150"/>
              <a:gd name="connsiteY29" fmla="*/ 156305 h 428625"/>
              <a:gd name="connsiteX30" fmla="*/ 3582734 w 3867150"/>
              <a:gd name="connsiteY30" fmla="*/ 140589 h 428625"/>
              <a:gd name="connsiteX31" fmla="*/ 3616928 w 3867150"/>
              <a:gd name="connsiteY31" fmla="*/ 161068 h 428625"/>
              <a:gd name="connsiteX32" fmla="*/ 3661220 w 3867150"/>
              <a:gd name="connsiteY32" fmla="*/ 122111 h 428625"/>
              <a:gd name="connsiteX33" fmla="*/ 3456813 w 3867150"/>
              <a:gd name="connsiteY33" fmla="*/ 953 h 428625"/>
              <a:gd name="connsiteX34" fmla="*/ 3395948 w 3867150"/>
              <a:gd name="connsiteY34" fmla="*/ 953 h 428625"/>
              <a:gd name="connsiteX35" fmla="*/ 3386423 w 3867150"/>
              <a:gd name="connsiteY35" fmla="*/ 49816 h 428625"/>
              <a:gd name="connsiteX36" fmla="*/ 3446812 w 3867150"/>
              <a:gd name="connsiteY36" fmla="*/ 49816 h 428625"/>
              <a:gd name="connsiteX37" fmla="*/ 3456813 w 3867150"/>
              <a:gd name="connsiteY37" fmla="*/ 953 h 428625"/>
              <a:gd name="connsiteX38" fmla="*/ 3436906 w 3867150"/>
              <a:gd name="connsiteY38" fmla="*/ 98393 h 428625"/>
              <a:gd name="connsiteX39" fmla="*/ 3377946 w 3867150"/>
              <a:gd name="connsiteY39" fmla="*/ 98393 h 428625"/>
              <a:gd name="connsiteX40" fmla="*/ 3329940 w 3867150"/>
              <a:gd name="connsiteY40" fmla="*/ 338423 h 428625"/>
              <a:gd name="connsiteX41" fmla="*/ 3388900 w 3867150"/>
              <a:gd name="connsiteY41" fmla="*/ 338423 h 428625"/>
              <a:gd name="connsiteX42" fmla="*/ 3436906 w 3867150"/>
              <a:gd name="connsiteY42" fmla="*/ 98393 h 428625"/>
              <a:gd name="connsiteX43" fmla="*/ 3328035 w 3867150"/>
              <a:gd name="connsiteY43" fmla="*/ 98393 h 428625"/>
              <a:gd name="connsiteX44" fmla="*/ 3287173 w 3867150"/>
              <a:gd name="connsiteY44" fmla="*/ 98393 h 428625"/>
              <a:gd name="connsiteX45" fmla="*/ 3301937 w 3867150"/>
              <a:gd name="connsiteY45" fmla="*/ 24289 h 428625"/>
              <a:gd name="connsiteX46" fmla="*/ 3242977 w 3867150"/>
              <a:gd name="connsiteY46" fmla="*/ 24289 h 428625"/>
              <a:gd name="connsiteX47" fmla="*/ 3228213 w 3867150"/>
              <a:gd name="connsiteY47" fmla="*/ 98393 h 428625"/>
              <a:gd name="connsiteX48" fmla="*/ 3203067 w 3867150"/>
              <a:gd name="connsiteY48" fmla="*/ 98393 h 428625"/>
              <a:gd name="connsiteX49" fmla="*/ 3194019 w 3867150"/>
              <a:gd name="connsiteY49" fmla="*/ 142970 h 428625"/>
              <a:gd name="connsiteX50" fmla="*/ 3219164 w 3867150"/>
              <a:gd name="connsiteY50" fmla="*/ 142970 h 428625"/>
              <a:gd name="connsiteX51" fmla="*/ 3194971 w 3867150"/>
              <a:gd name="connsiteY51" fmla="*/ 264223 h 428625"/>
              <a:gd name="connsiteX52" fmla="*/ 3193066 w 3867150"/>
              <a:gd name="connsiteY52" fmla="*/ 284702 h 428625"/>
              <a:gd name="connsiteX53" fmla="*/ 3252883 w 3867150"/>
              <a:gd name="connsiteY53" fmla="*/ 338328 h 428625"/>
              <a:gd name="connsiteX54" fmla="*/ 3283268 w 3867150"/>
              <a:gd name="connsiteY54" fmla="*/ 338328 h 428625"/>
              <a:gd name="connsiteX55" fmla="*/ 3293269 w 3867150"/>
              <a:gd name="connsiteY55" fmla="*/ 288988 h 428625"/>
              <a:gd name="connsiteX56" fmla="*/ 3271933 w 3867150"/>
              <a:gd name="connsiteY56" fmla="*/ 288988 h 428625"/>
              <a:gd name="connsiteX57" fmla="*/ 3252883 w 3867150"/>
              <a:gd name="connsiteY57" fmla="*/ 273748 h 428625"/>
              <a:gd name="connsiteX58" fmla="*/ 3253836 w 3867150"/>
              <a:gd name="connsiteY58" fmla="*/ 264700 h 428625"/>
              <a:gd name="connsiteX59" fmla="*/ 3278029 w 3867150"/>
              <a:gd name="connsiteY59" fmla="*/ 142970 h 428625"/>
              <a:gd name="connsiteX60" fmla="*/ 3318891 w 3867150"/>
              <a:gd name="connsiteY60" fmla="*/ 142970 h 428625"/>
              <a:gd name="connsiteX61" fmla="*/ 3328035 w 3867150"/>
              <a:gd name="connsiteY61" fmla="*/ 98393 h 428625"/>
              <a:gd name="connsiteX62" fmla="*/ 3163062 w 3867150"/>
              <a:gd name="connsiteY62" fmla="*/ 118300 h 428625"/>
              <a:gd name="connsiteX63" fmla="*/ 3080861 w 3867150"/>
              <a:gd name="connsiteY63" fmla="*/ 87916 h 428625"/>
              <a:gd name="connsiteX64" fmla="*/ 2998565 w 3867150"/>
              <a:gd name="connsiteY64" fmla="*/ 116396 h 428625"/>
              <a:gd name="connsiteX65" fmla="*/ 2973420 w 3867150"/>
              <a:gd name="connsiteY65" fmla="*/ 178213 h 428625"/>
              <a:gd name="connsiteX66" fmla="*/ 3032760 w 3867150"/>
              <a:gd name="connsiteY66" fmla="*/ 234315 h 428625"/>
              <a:gd name="connsiteX67" fmla="*/ 3065145 w 3867150"/>
              <a:gd name="connsiteY67" fmla="*/ 239554 h 428625"/>
              <a:gd name="connsiteX68" fmla="*/ 3088481 w 3867150"/>
              <a:gd name="connsiteY68" fmla="*/ 260032 h 428625"/>
              <a:gd name="connsiteX69" fmla="*/ 3037999 w 3867150"/>
              <a:gd name="connsiteY69" fmla="*/ 290894 h 428625"/>
              <a:gd name="connsiteX70" fmla="*/ 2981039 w 3867150"/>
              <a:gd name="connsiteY70" fmla="*/ 267081 h 428625"/>
              <a:gd name="connsiteX71" fmla="*/ 2938748 w 3867150"/>
              <a:gd name="connsiteY71" fmla="*/ 304133 h 428625"/>
              <a:gd name="connsiteX72" fmla="*/ 3034189 w 3867150"/>
              <a:gd name="connsiteY72" fmla="*/ 341186 h 428625"/>
              <a:gd name="connsiteX73" fmla="*/ 3120295 w 3867150"/>
              <a:gd name="connsiteY73" fmla="*/ 314134 h 428625"/>
              <a:gd name="connsiteX74" fmla="*/ 3146870 w 3867150"/>
              <a:gd name="connsiteY74" fmla="*/ 254222 h 428625"/>
              <a:gd name="connsiteX75" fmla="*/ 3087053 w 3867150"/>
              <a:gd name="connsiteY75" fmla="*/ 190024 h 428625"/>
              <a:gd name="connsiteX76" fmla="*/ 3055144 w 3867150"/>
              <a:gd name="connsiteY76" fmla="*/ 184785 h 428625"/>
              <a:gd name="connsiteX77" fmla="*/ 3032284 w 3867150"/>
              <a:gd name="connsiteY77" fmla="*/ 166211 h 428625"/>
              <a:gd name="connsiteX78" fmla="*/ 3075623 w 3867150"/>
              <a:gd name="connsiteY78" fmla="*/ 136303 h 428625"/>
              <a:gd name="connsiteX79" fmla="*/ 3122676 w 3867150"/>
              <a:gd name="connsiteY79" fmla="*/ 153924 h 428625"/>
              <a:gd name="connsiteX80" fmla="*/ 3163062 w 3867150"/>
              <a:gd name="connsiteY80" fmla="*/ 118300 h 428625"/>
              <a:gd name="connsiteX81" fmla="*/ 2858453 w 3867150"/>
              <a:gd name="connsiteY81" fmla="*/ 231934 h 428625"/>
              <a:gd name="connsiteX82" fmla="*/ 2855595 w 3867150"/>
              <a:gd name="connsiteY82" fmla="*/ 246697 h 428625"/>
              <a:gd name="connsiteX83" fmla="*/ 2840831 w 3867150"/>
              <a:gd name="connsiteY83" fmla="*/ 278035 h 428625"/>
              <a:gd name="connsiteX84" fmla="*/ 2802350 w 3867150"/>
              <a:gd name="connsiteY84" fmla="*/ 293275 h 428625"/>
              <a:gd name="connsiteX85" fmla="*/ 2770918 w 3867150"/>
              <a:gd name="connsiteY85" fmla="*/ 269938 h 428625"/>
              <a:gd name="connsiteX86" fmla="*/ 2813209 w 3867150"/>
              <a:gd name="connsiteY86" fmla="*/ 231838 h 428625"/>
              <a:gd name="connsiteX87" fmla="*/ 2858453 w 3867150"/>
              <a:gd name="connsiteY87" fmla="*/ 231838 h 428625"/>
              <a:gd name="connsiteX88" fmla="*/ 2930652 w 3867150"/>
              <a:gd name="connsiteY88" fmla="*/ 156877 h 428625"/>
              <a:gd name="connsiteX89" fmla="*/ 2842736 w 3867150"/>
              <a:gd name="connsiteY89" fmla="*/ 88011 h 428625"/>
              <a:gd name="connsiteX90" fmla="*/ 2751011 w 3867150"/>
              <a:gd name="connsiteY90" fmla="*/ 121253 h 428625"/>
              <a:gd name="connsiteX91" fmla="*/ 2781395 w 3867150"/>
              <a:gd name="connsiteY91" fmla="*/ 160687 h 428625"/>
              <a:gd name="connsiteX92" fmla="*/ 2834640 w 3867150"/>
              <a:gd name="connsiteY92" fmla="*/ 137350 h 428625"/>
              <a:gd name="connsiteX93" fmla="*/ 2871311 w 3867150"/>
              <a:gd name="connsiteY93" fmla="*/ 164021 h 428625"/>
              <a:gd name="connsiteX94" fmla="*/ 2869883 w 3867150"/>
              <a:gd name="connsiteY94" fmla="*/ 176879 h 428625"/>
              <a:gd name="connsiteX95" fmla="*/ 2866549 w 3867150"/>
              <a:gd name="connsiteY95" fmla="*/ 191643 h 428625"/>
              <a:gd name="connsiteX96" fmla="*/ 2807589 w 3867150"/>
              <a:gd name="connsiteY96" fmla="*/ 191643 h 428625"/>
              <a:gd name="connsiteX97" fmla="*/ 2735390 w 3867150"/>
              <a:gd name="connsiteY97" fmla="*/ 217265 h 428625"/>
              <a:gd name="connsiteX98" fmla="*/ 2713101 w 3867150"/>
              <a:gd name="connsiteY98" fmla="*/ 275749 h 428625"/>
              <a:gd name="connsiteX99" fmla="*/ 2783872 w 3867150"/>
              <a:gd name="connsiteY99" fmla="*/ 340805 h 428625"/>
              <a:gd name="connsiteX100" fmla="*/ 2843784 w 3867150"/>
              <a:gd name="connsiteY100" fmla="*/ 316611 h 428625"/>
              <a:gd name="connsiteX101" fmla="*/ 2839498 w 3867150"/>
              <a:gd name="connsiteY101" fmla="*/ 338423 h 428625"/>
              <a:gd name="connsiteX102" fmla="*/ 2896076 w 3867150"/>
              <a:gd name="connsiteY102" fmla="*/ 338423 h 428625"/>
              <a:gd name="connsiteX103" fmla="*/ 2928366 w 3867150"/>
              <a:gd name="connsiteY103" fmla="*/ 178784 h 428625"/>
              <a:gd name="connsiteX104" fmla="*/ 2930652 w 3867150"/>
              <a:gd name="connsiteY104" fmla="*/ 156877 h 428625"/>
              <a:gd name="connsiteX105" fmla="*/ 2697766 w 3867150"/>
              <a:gd name="connsiteY105" fmla="*/ 0 h 428625"/>
              <a:gd name="connsiteX106" fmla="*/ 2638806 w 3867150"/>
              <a:gd name="connsiteY106" fmla="*/ 0 h 428625"/>
              <a:gd name="connsiteX107" fmla="*/ 2586133 w 3867150"/>
              <a:gd name="connsiteY107" fmla="*/ 264223 h 428625"/>
              <a:gd name="connsiteX108" fmla="*/ 2584228 w 3867150"/>
              <a:gd name="connsiteY108" fmla="*/ 284702 h 428625"/>
              <a:gd name="connsiteX109" fmla="*/ 2643569 w 3867150"/>
              <a:gd name="connsiteY109" fmla="*/ 338328 h 428625"/>
              <a:gd name="connsiteX110" fmla="*/ 2675858 w 3867150"/>
              <a:gd name="connsiteY110" fmla="*/ 338328 h 428625"/>
              <a:gd name="connsiteX111" fmla="*/ 2685860 w 3867150"/>
              <a:gd name="connsiteY111" fmla="*/ 288512 h 428625"/>
              <a:gd name="connsiteX112" fmla="*/ 2661666 w 3867150"/>
              <a:gd name="connsiteY112" fmla="*/ 288512 h 428625"/>
              <a:gd name="connsiteX113" fmla="*/ 2643569 w 3867150"/>
              <a:gd name="connsiteY113" fmla="*/ 274225 h 428625"/>
              <a:gd name="connsiteX114" fmla="*/ 2644997 w 3867150"/>
              <a:gd name="connsiteY114" fmla="*/ 263747 h 428625"/>
              <a:gd name="connsiteX115" fmla="*/ 2697766 w 3867150"/>
              <a:gd name="connsiteY115" fmla="*/ 0 h 428625"/>
              <a:gd name="connsiteX116" fmla="*/ 2514791 w 3867150"/>
              <a:gd name="connsiteY116" fmla="*/ 94583 h 428625"/>
              <a:gd name="connsiteX117" fmla="*/ 2455355 w 3867150"/>
              <a:gd name="connsiteY117" fmla="*/ 151638 h 428625"/>
              <a:gd name="connsiteX118" fmla="*/ 2399253 w 3867150"/>
              <a:gd name="connsiteY118" fmla="*/ 151638 h 428625"/>
              <a:gd name="connsiteX119" fmla="*/ 2418779 w 3867150"/>
              <a:gd name="connsiteY119" fmla="*/ 55531 h 428625"/>
              <a:gd name="connsiteX120" fmla="*/ 2476786 w 3867150"/>
              <a:gd name="connsiteY120" fmla="*/ 55531 h 428625"/>
              <a:gd name="connsiteX121" fmla="*/ 2514791 w 3867150"/>
              <a:gd name="connsiteY121" fmla="*/ 94583 h 428625"/>
              <a:gd name="connsiteX122" fmla="*/ 2578037 w 3867150"/>
              <a:gd name="connsiteY122" fmla="*/ 89345 h 428625"/>
              <a:gd name="connsiteX123" fmla="*/ 2487359 w 3867150"/>
              <a:gd name="connsiteY123" fmla="*/ 0 h 428625"/>
              <a:gd name="connsiteX124" fmla="*/ 2367058 w 3867150"/>
              <a:gd name="connsiteY124" fmla="*/ 0 h 428625"/>
              <a:gd name="connsiteX125" fmla="*/ 2299049 w 3867150"/>
              <a:gd name="connsiteY125" fmla="*/ 338328 h 428625"/>
              <a:gd name="connsiteX126" fmla="*/ 2361819 w 3867150"/>
              <a:gd name="connsiteY126" fmla="*/ 338328 h 428625"/>
              <a:gd name="connsiteX127" fmla="*/ 2387918 w 3867150"/>
              <a:gd name="connsiteY127" fmla="*/ 207169 h 428625"/>
              <a:gd name="connsiteX128" fmla="*/ 2453069 w 3867150"/>
              <a:gd name="connsiteY128" fmla="*/ 207169 h 428625"/>
              <a:gd name="connsiteX129" fmla="*/ 2578037 w 3867150"/>
              <a:gd name="connsiteY129" fmla="*/ 89345 h 428625"/>
              <a:gd name="connsiteX130" fmla="*/ 2105501 w 3867150"/>
              <a:gd name="connsiteY130" fmla="*/ 173546 h 428625"/>
              <a:gd name="connsiteX131" fmla="*/ 2101215 w 3867150"/>
              <a:gd name="connsiteY131" fmla="*/ 207740 h 428625"/>
              <a:gd name="connsiteX132" fmla="*/ 2048923 w 3867150"/>
              <a:gd name="connsiteY132" fmla="*/ 275272 h 428625"/>
              <a:gd name="connsiteX133" fmla="*/ 2019490 w 3867150"/>
              <a:gd name="connsiteY133" fmla="*/ 242506 h 428625"/>
              <a:gd name="connsiteX134" fmla="*/ 2023777 w 3867150"/>
              <a:gd name="connsiteY134" fmla="*/ 208312 h 428625"/>
              <a:gd name="connsiteX135" fmla="*/ 2076069 w 3867150"/>
              <a:gd name="connsiteY135" fmla="*/ 140779 h 428625"/>
              <a:gd name="connsiteX136" fmla="*/ 2105501 w 3867150"/>
              <a:gd name="connsiteY136" fmla="*/ 173546 h 428625"/>
              <a:gd name="connsiteX137" fmla="*/ 2105501 w 3867150"/>
              <a:gd name="connsiteY137" fmla="*/ 173546 h 428625"/>
              <a:gd name="connsiteX138" fmla="*/ 2183035 w 3867150"/>
              <a:gd name="connsiteY138" fmla="*/ 90773 h 428625"/>
              <a:gd name="connsiteX139" fmla="*/ 2125980 w 3867150"/>
              <a:gd name="connsiteY139" fmla="*/ 90773 h 428625"/>
              <a:gd name="connsiteX140" fmla="*/ 2121218 w 3867150"/>
              <a:gd name="connsiteY140" fmla="*/ 115919 h 428625"/>
              <a:gd name="connsiteX141" fmla="*/ 2065115 w 3867150"/>
              <a:gd name="connsiteY141" fmla="*/ 87821 h 428625"/>
              <a:gd name="connsiteX142" fmla="*/ 2001964 w 3867150"/>
              <a:gd name="connsiteY142" fmla="*/ 112490 h 428625"/>
              <a:gd name="connsiteX143" fmla="*/ 1964912 w 3867150"/>
              <a:gd name="connsiteY143" fmla="*/ 207550 h 428625"/>
              <a:gd name="connsiteX144" fmla="*/ 1958721 w 3867150"/>
              <a:gd name="connsiteY144" fmla="*/ 257937 h 428625"/>
              <a:gd name="connsiteX145" fmla="*/ 2027111 w 3867150"/>
              <a:gd name="connsiteY145" fmla="*/ 327755 h 428625"/>
              <a:gd name="connsiteX146" fmla="*/ 2082260 w 3867150"/>
              <a:gd name="connsiteY146" fmla="*/ 303086 h 428625"/>
              <a:gd name="connsiteX147" fmla="*/ 2077022 w 3867150"/>
              <a:gd name="connsiteY147" fmla="*/ 328231 h 428625"/>
              <a:gd name="connsiteX148" fmla="*/ 2016633 w 3867150"/>
              <a:gd name="connsiteY148" fmla="*/ 381953 h 428625"/>
              <a:gd name="connsiteX149" fmla="*/ 1975295 w 3867150"/>
              <a:gd name="connsiteY149" fmla="*/ 362426 h 428625"/>
              <a:gd name="connsiteX150" fmla="*/ 1934432 w 3867150"/>
              <a:gd name="connsiteY150" fmla="*/ 398050 h 428625"/>
              <a:gd name="connsiteX151" fmla="*/ 2016633 w 3867150"/>
              <a:gd name="connsiteY151" fmla="*/ 431768 h 428625"/>
              <a:gd name="connsiteX152" fmla="*/ 2135505 w 3867150"/>
              <a:gd name="connsiteY152" fmla="*/ 328613 h 428625"/>
              <a:gd name="connsiteX153" fmla="*/ 2183035 w 3867150"/>
              <a:gd name="connsiteY153" fmla="*/ 90773 h 428625"/>
              <a:gd name="connsiteX154" fmla="*/ 1924431 w 3867150"/>
              <a:gd name="connsiteY154" fmla="*/ 156305 h 428625"/>
              <a:gd name="connsiteX155" fmla="*/ 1861280 w 3867150"/>
              <a:gd name="connsiteY155" fmla="*/ 87916 h 428625"/>
              <a:gd name="connsiteX156" fmla="*/ 1796129 w 3867150"/>
              <a:gd name="connsiteY156" fmla="*/ 114490 h 428625"/>
              <a:gd name="connsiteX157" fmla="*/ 1800415 w 3867150"/>
              <a:gd name="connsiteY157" fmla="*/ 90773 h 428625"/>
              <a:gd name="connsiteX158" fmla="*/ 1743837 w 3867150"/>
              <a:gd name="connsiteY158" fmla="*/ 90773 h 428625"/>
              <a:gd name="connsiteX159" fmla="*/ 1694402 w 3867150"/>
              <a:gd name="connsiteY159" fmla="*/ 338328 h 428625"/>
              <a:gd name="connsiteX160" fmla="*/ 1753362 w 3867150"/>
              <a:gd name="connsiteY160" fmla="*/ 338328 h 428625"/>
              <a:gd name="connsiteX161" fmla="*/ 1783747 w 3867150"/>
              <a:gd name="connsiteY161" fmla="*/ 188119 h 428625"/>
              <a:gd name="connsiteX162" fmla="*/ 1834134 w 3867150"/>
              <a:gd name="connsiteY162" fmla="*/ 140589 h 428625"/>
              <a:gd name="connsiteX163" fmla="*/ 1863566 w 3867150"/>
              <a:gd name="connsiteY163" fmla="*/ 171450 h 428625"/>
              <a:gd name="connsiteX164" fmla="*/ 1861661 w 3867150"/>
              <a:gd name="connsiteY164" fmla="*/ 187642 h 428625"/>
              <a:gd name="connsiteX165" fmla="*/ 1831277 w 3867150"/>
              <a:gd name="connsiteY165" fmla="*/ 338328 h 428625"/>
              <a:gd name="connsiteX166" fmla="*/ 1890141 w 3867150"/>
              <a:gd name="connsiteY166" fmla="*/ 338328 h 428625"/>
              <a:gd name="connsiteX167" fmla="*/ 1921002 w 3867150"/>
              <a:gd name="connsiteY167" fmla="*/ 183832 h 428625"/>
              <a:gd name="connsiteX168" fmla="*/ 1924431 w 3867150"/>
              <a:gd name="connsiteY168" fmla="*/ 156305 h 428625"/>
              <a:gd name="connsiteX169" fmla="*/ 1702022 w 3867150"/>
              <a:gd name="connsiteY169" fmla="*/ 953 h 428625"/>
              <a:gd name="connsiteX170" fmla="*/ 1641157 w 3867150"/>
              <a:gd name="connsiteY170" fmla="*/ 953 h 428625"/>
              <a:gd name="connsiteX171" fmla="*/ 1631632 w 3867150"/>
              <a:gd name="connsiteY171" fmla="*/ 49816 h 428625"/>
              <a:gd name="connsiteX172" fmla="*/ 1692021 w 3867150"/>
              <a:gd name="connsiteY172" fmla="*/ 49816 h 428625"/>
              <a:gd name="connsiteX173" fmla="*/ 1702022 w 3867150"/>
              <a:gd name="connsiteY173" fmla="*/ 953 h 428625"/>
              <a:gd name="connsiteX174" fmla="*/ 1682115 w 3867150"/>
              <a:gd name="connsiteY174" fmla="*/ 98393 h 428625"/>
              <a:gd name="connsiteX175" fmla="*/ 1623155 w 3867150"/>
              <a:gd name="connsiteY175" fmla="*/ 98393 h 428625"/>
              <a:gd name="connsiteX176" fmla="*/ 1575149 w 3867150"/>
              <a:gd name="connsiteY176" fmla="*/ 338423 h 428625"/>
              <a:gd name="connsiteX177" fmla="*/ 1634109 w 3867150"/>
              <a:gd name="connsiteY177" fmla="*/ 338423 h 428625"/>
              <a:gd name="connsiteX178" fmla="*/ 1682115 w 3867150"/>
              <a:gd name="connsiteY178" fmla="*/ 98393 h 428625"/>
              <a:gd name="connsiteX179" fmla="*/ 1592199 w 3867150"/>
              <a:gd name="connsiteY179" fmla="*/ 111252 h 428625"/>
              <a:gd name="connsiteX180" fmla="*/ 1539431 w 3867150"/>
              <a:gd name="connsiteY180" fmla="*/ 88011 h 428625"/>
              <a:gd name="connsiteX181" fmla="*/ 1476661 w 3867150"/>
              <a:gd name="connsiteY181" fmla="*/ 115062 h 428625"/>
              <a:gd name="connsiteX182" fmla="*/ 1481900 w 3867150"/>
              <a:gd name="connsiteY182" fmla="*/ 90869 h 428625"/>
              <a:gd name="connsiteX183" fmla="*/ 1424845 w 3867150"/>
              <a:gd name="connsiteY183" fmla="*/ 90869 h 428625"/>
              <a:gd name="connsiteX184" fmla="*/ 1375410 w 3867150"/>
              <a:gd name="connsiteY184" fmla="*/ 338423 h 428625"/>
              <a:gd name="connsiteX185" fmla="*/ 1434370 w 3867150"/>
              <a:gd name="connsiteY185" fmla="*/ 338423 h 428625"/>
              <a:gd name="connsiteX186" fmla="*/ 1464278 w 3867150"/>
              <a:gd name="connsiteY186" fmla="*/ 188690 h 428625"/>
              <a:gd name="connsiteX187" fmla="*/ 1514189 w 3867150"/>
              <a:gd name="connsiteY187" fmla="*/ 141161 h 428625"/>
              <a:gd name="connsiteX188" fmla="*/ 1541240 w 3867150"/>
              <a:gd name="connsiteY188" fmla="*/ 156400 h 428625"/>
              <a:gd name="connsiteX189" fmla="*/ 1592199 w 3867150"/>
              <a:gd name="connsiteY189" fmla="*/ 111252 h 428625"/>
              <a:gd name="connsiteX190" fmla="*/ 1298067 w 3867150"/>
              <a:gd name="connsiteY190" fmla="*/ 176308 h 428625"/>
              <a:gd name="connsiteX191" fmla="*/ 1296638 w 3867150"/>
              <a:gd name="connsiteY191" fmla="*/ 192977 h 428625"/>
              <a:gd name="connsiteX192" fmla="*/ 1205770 w 3867150"/>
              <a:gd name="connsiteY192" fmla="*/ 192977 h 428625"/>
              <a:gd name="connsiteX193" fmla="*/ 1262825 w 3867150"/>
              <a:gd name="connsiteY193" fmla="*/ 136303 h 428625"/>
              <a:gd name="connsiteX194" fmla="*/ 1298067 w 3867150"/>
              <a:gd name="connsiteY194" fmla="*/ 176308 h 428625"/>
              <a:gd name="connsiteX195" fmla="*/ 1354074 w 3867150"/>
              <a:gd name="connsiteY195" fmla="*/ 176308 h 428625"/>
              <a:gd name="connsiteX196" fmla="*/ 1266158 w 3867150"/>
              <a:gd name="connsiteY196" fmla="*/ 87916 h 428625"/>
              <a:gd name="connsiteX197" fmla="*/ 1140238 w 3867150"/>
              <a:gd name="connsiteY197" fmla="*/ 254222 h 428625"/>
              <a:gd name="connsiteX198" fmla="*/ 1231964 w 3867150"/>
              <a:gd name="connsiteY198" fmla="*/ 341186 h 428625"/>
              <a:gd name="connsiteX199" fmla="*/ 1328452 w 3867150"/>
              <a:gd name="connsiteY199" fmla="*/ 305086 h 428625"/>
              <a:gd name="connsiteX200" fmla="*/ 1297591 w 3867150"/>
              <a:gd name="connsiteY200" fmla="*/ 266129 h 428625"/>
              <a:gd name="connsiteX201" fmla="*/ 1238631 w 3867150"/>
              <a:gd name="connsiteY201" fmla="*/ 291370 h 428625"/>
              <a:gd name="connsiteX202" fmla="*/ 1196340 w 3867150"/>
              <a:gd name="connsiteY202" fmla="*/ 249936 h 428625"/>
              <a:gd name="connsiteX203" fmla="*/ 1198245 w 3867150"/>
              <a:gd name="connsiteY203" fmla="*/ 232315 h 428625"/>
              <a:gd name="connsiteX204" fmla="*/ 1346549 w 3867150"/>
              <a:gd name="connsiteY204" fmla="*/ 232315 h 428625"/>
              <a:gd name="connsiteX205" fmla="*/ 1354074 w 3867150"/>
              <a:gd name="connsiteY205" fmla="*/ 176308 h 428625"/>
              <a:gd name="connsiteX206" fmla="*/ 1054227 w 3867150"/>
              <a:gd name="connsiteY206" fmla="*/ 176308 h 428625"/>
              <a:gd name="connsiteX207" fmla="*/ 1052798 w 3867150"/>
              <a:gd name="connsiteY207" fmla="*/ 192977 h 428625"/>
              <a:gd name="connsiteX208" fmla="*/ 961930 w 3867150"/>
              <a:gd name="connsiteY208" fmla="*/ 192977 h 428625"/>
              <a:gd name="connsiteX209" fmla="*/ 1018984 w 3867150"/>
              <a:gd name="connsiteY209" fmla="*/ 136303 h 428625"/>
              <a:gd name="connsiteX210" fmla="*/ 1054227 w 3867150"/>
              <a:gd name="connsiteY210" fmla="*/ 176308 h 428625"/>
              <a:gd name="connsiteX211" fmla="*/ 1110234 w 3867150"/>
              <a:gd name="connsiteY211" fmla="*/ 176308 h 428625"/>
              <a:gd name="connsiteX212" fmla="*/ 1022318 w 3867150"/>
              <a:gd name="connsiteY212" fmla="*/ 87916 h 428625"/>
              <a:gd name="connsiteX213" fmla="*/ 896398 w 3867150"/>
              <a:gd name="connsiteY213" fmla="*/ 254222 h 428625"/>
              <a:gd name="connsiteX214" fmla="*/ 988124 w 3867150"/>
              <a:gd name="connsiteY214" fmla="*/ 341186 h 428625"/>
              <a:gd name="connsiteX215" fmla="*/ 1084612 w 3867150"/>
              <a:gd name="connsiteY215" fmla="*/ 305086 h 428625"/>
              <a:gd name="connsiteX216" fmla="*/ 1053751 w 3867150"/>
              <a:gd name="connsiteY216" fmla="*/ 266129 h 428625"/>
              <a:gd name="connsiteX217" fmla="*/ 994791 w 3867150"/>
              <a:gd name="connsiteY217" fmla="*/ 291370 h 428625"/>
              <a:gd name="connsiteX218" fmla="*/ 952500 w 3867150"/>
              <a:gd name="connsiteY218" fmla="*/ 249936 h 428625"/>
              <a:gd name="connsiteX219" fmla="*/ 954405 w 3867150"/>
              <a:gd name="connsiteY219" fmla="*/ 232315 h 428625"/>
              <a:gd name="connsiteX220" fmla="*/ 1102709 w 3867150"/>
              <a:gd name="connsiteY220" fmla="*/ 232315 h 428625"/>
              <a:gd name="connsiteX221" fmla="*/ 1110234 w 3867150"/>
              <a:gd name="connsiteY221" fmla="*/ 176308 h 428625"/>
              <a:gd name="connsiteX222" fmla="*/ 863537 w 3867150"/>
              <a:gd name="connsiteY222" fmla="*/ 156305 h 428625"/>
              <a:gd name="connsiteX223" fmla="*/ 800386 w 3867150"/>
              <a:gd name="connsiteY223" fmla="*/ 87916 h 428625"/>
              <a:gd name="connsiteX224" fmla="*/ 735235 w 3867150"/>
              <a:gd name="connsiteY224" fmla="*/ 114490 h 428625"/>
              <a:gd name="connsiteX225" fmla="*/ 739521 w 3867150"/>
              <a:gd name="connsiteY225" fmla="*/ 90773 h 428625"/>
              <a:gd name="connsiteX226" fmla="*/ 682943 w 3867150"/>
              <a:gd name="connsiteY226" fmla="*/ 90773 h 428625"/>
              <a:gd name="connsiteX227" fmla="*/ 633508 w 3867150"/>
              <a:gd name="connsiteY227" fmla="*/ 338328 h 428625"/>
              <a:gd name="connsiteX228" fmla="*/ 692468 w 3867150"/>
              <a:gd name="connsiteY228" fmla="*/ 338328 h 428625"/>
              <a:gd name="connsiteX229" fmla="*/ 722852 w 3867150"/>
              <a:gd name="connsiteY229" fmla="*/ 188119 h 428625"/>
              <a:gd name="connsiteX230" fmla="*/ 773240 w 3867150"/>
              <a:gd name="connsiteY230" fmla="*/ 140589 h 428625"/>
              <a:gd name="connsiteX231" fmla="*/ 802672 w 3867150"/>
              <a:gd name="connsiteY231" fmla="*/ 171450 h 428625"/>
              <a:gd name="connsiteX232" fmla="*/ 800767 w 3867150"/>
              <a:gd name="connsiteY232" fmla="*/ 187642 h 428625"/>
              <a:gd name="connsiteX233" fmla="*/ 770382 w 3867150"/>
              <a:gd name="connsiteY233" fmla="*/ 338328 h 428625"/>
              <a:gd name="connsiteX234" fmla="*/ 829247 w 3867150"/>
              <a:gd name="connsiteY234" fmla="*/ 338328 h 428625"/>
              <a:gd name="connsiteX235" fmla="*/ 860108 w 3867150"/>
              <a:gd name="connsiteY235" fmla="*/ 183832 h 428625"/>
              <a:gd name="connsiteX236" fmla="*/ 863537 w 3867150"/>
              <a:gd name="connsiteY236" fmla="*/ 156305 h 428625"/>
              <a:gd name="connsiteX237" fmla="*/ 553688 w 3867150"/>
              <a:gd name="connsiteY237" fmla="*/ 176308 h 428625"/>
              <a:gd name="connsiteX238" fmla="*/ 548450 w 3867150"/>
              <a:gd name="connsiteY238" fmla="*/ 214313 h 428625"/>
              <a:gd name="connsiteX239" fmla="*/ 523208 w 3867150"/>
              <a:gd name="connsiteY239" fmla="*/ 276130 h 428625"/>
              <a:gd name="connsiteX240" fmla="*/ 492824 w 3867150"/>
              <a:gd name="connsiteY240" fmla="*/ 288512 h 428625"/>
              <a:gd name="connsiteX241" fmla="*/ 461391 w 3867150"/>
              <a:gd name="connsiteY241" fmla="*/ 252889 h 428625"/>
              <a:gd name="connsiteX242" fmla="*/ 466630 w 3867150"/>
              <a:gd name="connsiteY242" fmla="*/ 214408 h 428625"/>
              <a:gd name="connsiteX243" fmla="*/ 491871 w 3867150"/>
              <a:gd name="connsiteY243" fmla="*/ 153067 h 428625"/>
              <a:gd name="connsiteX244" fmla="*/ 522351 w 3867150"/>
              <a:gd name="connsiteY244" fmla="*/ 140684 h 428625"/>
              <a:gd name="connsiteX245" fmla="*/ 553688 w 3867150"/>
              <a:gd name="connsiteY245" fmla="*/ 176308 h 428625"/>
              <a:gd name="connsiteX246" fmla="*/ 612172 w 3867150"/>
              <a:gd name="connsiteY246" fmla="*/ 169640 h 428625"/>
              <a:gd name="connsiteX247" fmla="*/ 528542 w 3867150"/>
              <a:gd name="connsiteY247" fmla="*/ 87916 h 428625"/>
              <a:gd name="connsiteX248" fmla="*/ 452438 w 3867150"/>
              <a:gd name="connsiteY248" fmla="*/ 116396 h 428625"/>
              <a:gd name="connsiteX249" fmla="*/ 408242 w 3867150"/>
              <a:gd name="connsiteY249" fmla="*/ 214313 h 428625"/>
              <a:gd name="connsiteX250" fmla="*/ 403003 w 3867150"/>
              <a:gd name="connsiteY250" fmla="*/ 259461 h 428625"/>
              <a:gd name="connsiteX251" fmla="*/ 487109 w 3867150"/>
              <a:gd name="connsiteY251" fmla="*/ 341186 h 428625"/>
              <a:gd name="connsiteX252" fmla="*/ 563213 w 3867150"/>
              <a:gd name="connsiteY252" fmla="*/ 312706 h 428625"/>
              <a:gd name="connsiteX253" fmla="*/ 607409 w 3867150"/>
              <a:gd name="connsiteY253" fmla="*/ 214313 h 428625"/>
              <a:gd name="connsiteX254" fmla="*/ 612172 w 3867150"/>
              <a:gd name="connsiteY254" fmla="*/ 169640 h 428625"/>
              <a:gd name="connsiteX255" fmla="*/ 401098 w 3867150"/>
              <a:gd name="connsiteY255" fmla="*/ 953 h 428625"/>
              <a:gd name="connsiteX256" fmla="*/ 340233 w 3867150"/>
              <a:gd name="connsiteY256" fmla="*/ 953 h 428625"/>
              <a:gd name="connsiteX257" fmla="*/ 330708 w 3867150"/>
              <a:gd name="connsiteY257" fmla="*/ 49816 h 428625"/>
              <a:gd name="connsiteX258" fmla="*/ 391096 w 3867150"/>
              <a:gd name="connsiteY258" fmla="*/ 49816 h 428625"/>
              <a:gd name="connsiteX259" fmla="*/ 401098 w 3867150"/>
              <a:gd name="connsiteY259" fmla="*/ 953 h 428625"/>
              <a:gd name="connsiteX260" fmla="*/ 381191 w 3867150"/>
              <a:gd name="connsiteY260" fmla="*/ 98393 h 428625"/>
              <a:gd name="connsiteX261" fmla="*/ 322231 w 3867150"/>
              <a:gd name="connsiteY261" fmla="*/ 98393 h 428625"/>
              <a:gd name="connsiteX262" fmla="*/ 274225 w 3867150"/>
              <a:gd name="connsiteY262" fmla="*/ 338423 h 428625"/>
              <a:gd name="connsiteX263" fmla="*/ 333184 w 3867150"/>
              <a:gd name="connsiteY263" fmla="*/ 338423 h 428625"/>
              <a:gd name="connsiteX264" fmla="*/ 381191 w 3867150"/>
              <a:gd name="connsiteY264" fmla="*/ 98393 h 428625"/>
              <a:gd name="connsiteX265" fmla="*/ 215741 w 3867150"/>
              <a:gd name="connsiteY265" fmla="*/ 94583 h 428625"/>
              <a:gd name="connsiteX266" fmla="*/ 156305 w 3867150"/>
              <a:gd name="connsiteY266" fmla="*/ 151638 h 428625"/>
              <a:gd name="connsiteX267" fmla="*/ 100203 w 3867150"/>
              <a:gd name="connsiteY267" fmla="*/ 151638 h 428625"/>
              <a:gd name="connsiteX268" fmla="*/ 119729 w 3867150"/>
              <a:gd name="connsiteY268" fmla="*/ 55531 h 428625"/>
              <a:gd name="connsiteX269" fmla="*/ 177737 w 3867150"/>
              <a:gd name="connsiteY269" fmla="*/ 55531 h 428625"/>
              <a:gd name="connsiteX270" fmla="*/ 215741 w 3867150"/>
              <a:gd name="connsiteY270" fmla="*/ 94583 h 428625"/>
              <a:gd name="connsiteX271" fmla="*/ 278987 w 3867150"/>
              <a:gd name="connsiteY271" fmla="*/ 89345 h 428625"/>
              <a:gd name="connsiteX272" fmla="*/ 188214 w 3867150"/>
              <a:gd name="connsiteY272" fmla="*/ 0 h 428625"/>
              <a:gd name="connsiteX273" fmla="*/ 68008 w 3867150"/>
              <a:gd name="connsiteY273" fmla="*/ 0 h 428625"/>
              <a:gd name="connsiteX274" fmla="*/ 0 w 3867150"/>
              <a:gd name="connsiteY274" fmla="*/ 338328 h 428625"/>
              <a:gd name="connsiteX275" fmla="*/ 62770 w 3867150"/>
              <a:gd name="connsiteY275" fmla="*/ 338328 h 428625"/>
              <a:gd name="connsiteX276" fmla="*/ 88868 w 3867150"/>
              <a:gd name="connsiteY276" fmla="*/ 207169 h 428625"/>
              <a:gd name="connsiteX277" fmla="*/ 154019 w 3867150"/>
              <a:gd name="connsiteY277" fmla="*/ 207169 h 428625"/>
              <a:gd name="connsiteX278" fmla="*/ 278987 w 3867150"/>
              <a:gd name="connsiteY278" fmla="*/ 89345 h 428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</a:cxnLst>
            <a:rect l="l" t="t" r="r" b="b"/>
            <a:pathLst>
              <a:path w="3867150" h="428625">
                <a:moveTo>
                  <a:pt x="3869817" y="118300"/>
                </a:moveTo>
                <a:cubicBezTo>
                  <a:pt x="3848481" y="96488"/>
                  <a:pt x="3822764" y="87916"/>
                  <a:pt x="3787617" y="87916"/>
                </a:cubicBezTo>
                <a:cubicBezTo>
                  <a:pt x="3752374" y="87916"/>
                  <a:pt x="3723894" y="97917"/>
                  <a:pt x="3705416" y="116396"/>
                </a:cubicBezTo>
                <a:cubicBezTo>
                  <a:pt x="3688842" y="132969"/>
                  <a:pt x="3680270" y="155353"/>
                  <a:pt x="3680270" y="178213"/>
                </a:cubicBezTo>
                <a:cubicBezTo>
                  <a:pt x="3680270" y="201549"/>
                  <a:pt x="3694462" y="226695"/>
                  <a:pt x="3739610" y="234315"/>
                </a:cubicBezTo>
                <a:lnTo>
                  <a:pt x="3771995" y="239554"/>
                </a:lnTo>
                <a:cubicBezTo>
                  <a:pt x="3786283" y="241935"/>
                  <a:pt x="3795332" y="246697"/>
                  <a:pt x="3795332" y="260032"/>
                </a:cubicBezTo>
                <a:cubicBezTo>
                  <a:pt x="3795332" y="274796"/>
                  <a:pt x="3778663" y="290894"/>
                  <a:pt x="3744944" y="290894"/>
                </a:cubicBezTo>
                <a:cubicBezTo>
                  <a:pt x="3716941" y="290894"/>
                  <a:pt x="3700272" y="281369"/>
                  <a:pt x="3687985" y="267081"/>
                </a:cubicBezTo>
                <a:lnTo>
                  <a:pt x="3645694" y="304133"/>
                </a:lnTo>
                <a:cubicBezTo>
                  <a:pt x="3667601" y="327850"/>
                  <a:pt x="3697034" y="341186"/>
                  <a:pt x="3741135" y="341186"/>
                </a:cubicBezTo>
                <a:cubicBezTo>
                  <a:pt x="3773043" y="341186"/>
                  <a:pt x="3807238" y="333565"/>
                  <a:pt x="3827145" y="314134"/>
                </a:cubicBezTo>
                <a:cubicBezTo>
                  <a:pt x="3843338" y="298513"/>
                  <a:pt x="3853720" y="278987"/>
                  <a:pt x="3853720" y="254222"/>
                </a:cubicBezTo>
                <a:cubicBezTo>
                  <a:pt x="3853720" y="220028"/>
                  <a:pt x="3838004" y="197167"/>
                  <a:pt x="3793903" y="190024"/>
                </a:cubicBezTo>
                <a:lnTo>
                  <a:pt x="3761994" y="184785"/>
                </a:lnTo>
                <a:cubicBezTo>
                  <a:pt x="3746754" y="182404"/>
                  <a:pt x="3739134" y="176689"/>
                  <a:pt x="3739134" y="166211"/>
                </a:cubicBezTo>
                <a:cubicBezTo>
                  <a:pt x="3739134" y="150971"/>
                  <a:pt x="3752469" y="136303"/>
                  <a:pt x="3782377" y="136303"/>
                </a:cubicBezTo>
                <a:cubicBezTo>
                  <a:pt x="3799999" y="136303"/>
                  <a:pt x="3818001" y="142018"/>
                  <a:pt x="3829431" y="153924"/>
                </a:cubicBezTo>
                <a:lnTo>
                  <a:pt x="3869817" y="118300"/>
                </a:lnTo>
                <a:close/>
                <a:moveTo>
                  <a:pt x="3661220" y="122111"/>
                </a:moveTo>
                <a:cubicBezTo>
                  <a:pt x="3646456" y="103156"/>
                  <a:pt x="3624644" y="87916"/>
                  <a:pt x="3588544" y="87916"/>
                </a:cubicBezTo>
                <a:cubicBezTo>
                  <a:pt x="3538157" y="87916"/>
                  <a:pt x="3481197" y="113538"/>
                  <a:pt x="3462623" y="214313"/>
                </a:cubicBezTo>
                <a:cubicBezTo>
                  <a:pt x="3460242" y="227171"/>
                  <a:pt x="3458813" y="240982"/>
                  <a:pt x="3458813" y="252794"/>
                </a:cubicBezTo>
                <a:cubicBezTo>
                  <a:pt x="3458813" y="311277"/>
                  <a:pt x="3500628" y="341186"/>
                  <a:pt x="3547586" y="341186"/>
                </a:cubicBezTo>
                <a:cubicBezTo>
                  <a:pt x="3579400" y="341186"/>
                  <a:pt x="3608451" y="329279"/>
                  <a:pt x="3629311" y="309848"/>
                </a:cubicBezTo>
                <a:lnTo>
                  <a:pt x="3596545" y="267557"/>
                </a:lnTo>
                <a:cubicBezTo>
                  <a:pt x="3582734" y="281369"/>
                  <a:pt x="3569875" y="288512"/>
                  <a:pt x="3553301" y="288512"/>
                </a:cubicBezTo>
                <a:cubicBezTo>
                  <a:pt x="3530441" y="288512"/>
                  <a:pt x="3518154" y="272320"/>
                  <a:pt x="3518154" y="246221"/>
                </a:cubicBezTo>
                <a:cubicBezTo>
                  <a:pt x="3518154" y="234791"/>
                  <a:pt x="3519583" y="225266"/>
                  <a:pt x="3521488" y="214313"/>
                </a:cubicBezTo>
                <a:cubicBezTo>
                  <a:pt x="3525774" y="190976"/>
                  <a:pt x="3534823" y="169640"/>
                  <a:pt x="3547586" y="156305"/>
                </a:cubicBezTo>
                <a:cubicBezTo>
                  <a:pt x="3558064" y="145352"/>
                  <a:pt x="3569970" y="140589"/>
                  <a:pt x="3582734" y="140589"/>
                </a:cubicBezTo>
                <a:cubicBezTo>
                  <a:pt x="3597497" y="140589"/>
                  <a:pt x="3607499" y="148209"/>
                  <a:pt x="3616928" y="161068"/>
                </a:cubicBezTo>
                <a:lnTo>
                  <a:pt x="3661220" y="122111"/>
                </a:lnTo>
                <a:close/>
                <a:moveTo>
                  <a:pt x="3456813" y="953"/>
                </a:moveTo>
                <a:lnTo>
                  <a:pt x="3395948" y="953"/>
                </a:lnTo>
                <a:lnTo>
                  <a:pt x="3386423" y="49816"/>
                </a:lnTo>
                <a:lnTo>
                  <a:pt x="3446812" y="49816"/>
                </a:lnTo>
                <a:lnTo>
                  <a:pt x="3456813" y="953"/>
                </a:lnTo>
                <a:close/>
                <a:moveTo>
                  <a:pt x="3436906" y="98393"/>
                </a:moveTo>
                <a:lnTo>
                  <a:pt x="3377946" y="98393"/>
                </a:lnTo>
                <a:lnTo>
                  <a:pt x="3329940" y="338423"/>
                </a:lnTo>
                <a:lnTo>
                  <a:pt x="3388900" y="338423"/>
                </a:lnTo>
                <a:lnTo>
                  <a:pt x="3436906" y="98393"/>
                </a:lnTo>
                <a:close/>
                <a:moveTo>
                  <a:pt x="3328035" y="98393"/>
                </a:moveTo>
                <a:lnTo>
                  <a:pt x="3287173" y="98393"/>
                </a:lnTo>
                <a:lnTo>
                  <a:pt x="3301937" y="24289"/>
                </a:lnTo>
                <a:lnTo>
                  <a:pt x="3242977" y="24289"/>
                </a:lnTo>
                <a:lnTo>
                  <a:pt x="3228213" y="98393"/>
                </a:lnTo>
                <a:lnTo>
                  <a:pt x="3203067" y="98393"/>
                </a:lnTo>
                <a:lnTo>
                  <a:pt x="3194019" y="142970"/>
                </a:lnTo>
                <a:lnTo>
                  <a:pt x="3219164" y="142970"/>
                </a:lnTo>
                <a:lnTo>
                  <a:pt x="3194971" y="264223"/>
                </a:lnTo>
                <a:cubicBezTo>
                  <a:pt x="3194019" y="269462"/>
                  <a:pt x="3193066" y="276130"/>
                  <a:pt x="3193066" y="284702"/>
                </a:cubicBezTo>
                <a:cubicBezTo>
                  <a:pt x="3193066" y="318421"/>
                  <a:pt x="3218688" y="338328"/>
                  <a:pt x="3252883" y="338328"/>
                </a:cubicBezTo>
                <a:lnTo>
                  <a:pt x="3283268" y="338328"/>
                </a:lnTo>
                <a:lnTo>
                  <a:pt x="3293269" y="288988"/>
                </a:lnTo>
                <a:lnTo>
                  <a:pt x="3271933" y="288988"/>
                </a:lnTo>
                <a:cubicBezTo>
                  <a:pt x="3259074" y="288988"/>
                  <a:pt x="3252883" y="283750"/>
                  <a:pt x="3252883" y="273748"/>
                </a:cubicBezTo>
                <a:cubicBezTo>
                  <a:pt x="3252883" y="271367"/>
                  <a:pt x="3252883" y="269462"/>
                  <a:pt x="3253836" y="264700"/>
                </a:cubicBezTo>
                <a:lnTo>
                  <a:pt x="3278029" y="142970"/>
                </a:lnTo>
                <a:lnTo>
                  <a:pt x="3318891" y="142970"/>
                </a:lnTo>
                <a:lnTo>
                  <a:pt x="3328035" y="98393"/>
                </a:lnTo>
                <a:close/>
                <a:moveTo>
                  <a:pt x="3163062" y="118300"/>
                </a:moveTo>
                <a:cubicBezTo>
                  <a:pt x="3141726" y="96488"/>
                  <a:pt x="3116009" y="87916"/>
                  <a:pt x="3080861" y="87916"/>
                </a:cubicBezTo>
                <a:cubicBezTo>
                  <a:pt x="3045619" y="87916"/>
                  <a:pt x="3017139" y="97917"/>
                  <a:pt x="2998565" y="116396"/>
                </a:cubicBezTo>
                <a:cubicBezTo>
                  <a:pt x="2981992" y="132969"/>
                  <a:pt x="2973420" y="155353"/>
                  <a:pt x="2973420" y="178213"/>
                </a:cubicBezTo>
                <a:cubicBezTo>
                  <a:pt x="2973420" y="201549"/>
                  <a:pt x="2987707" y="226695"/>
                  <a:pt x="3032760" y="234315"/>
                </a:cubicBezTo>
                <a:lnTo>
                  <a:pt x="3065145" y="239554"/>
                </a:lnTo>
                <a:cubicBezTo>
                  <a:pt x="3079433" y="241935"/>
                  <a:pt x="3088481" y="246697"/>
                  <a:pt x="3088481" y="260032"/>
                </a:cubicBezTo>
                <a:cubicBezTo>
                  <a:pt x="3088481" y="274796"/>
                  <a:pt x="3071813" y="290894"/>
                  <a:pt x="3037999" y="290894"/>
                </a:cubicBezTo>
                <a:cubicBezTo>
                  <a:pt x="3009995" y="290894"/>
                  <a:pt x="2993327" y="281369"/>
                  <a:pt x="2981039" y="267081"/>
                </a:cubicBezTo>
                <a:lnTo>
                  <a:pt x="2938748" y="304133"/>
                </a:lnTo>
                <a:cubicBezTo>
                  <a:pt x="2960656" y="327850"/>
                  <a:pt x="2990088" y="341186"/>
                  <a:pt x="3034189" y="341186"/>
                </a:cubicBezTo>
                <a:cubicBezTo>
                  <a:pt x="3066098" y="341186"/>
                  <a:pt x="3100292" y="333565"/>
                  <a:pt x="3120295" y="314134"/>
                </a:cubicBezTo>
                <a:cubicBezTo>
                  <a:pt x="3136392" y="298513"/>
                  <a:pt x="3146870" y="278987"/>
                  <a:pt x="3146870" y="254222"/>
                </a:cubicBezTo>
                <a:cubicBezTo>
                  <a:pt x="3146870" y="220028"/>
                  <a:pt x="3131153" y="197167"/>
                  <a:pt x="3087053" y="190024"/>
                </a:cubicBezTo>
                <a:lnTo>
                  <a:pt x="3055144" y="184785"/>
                </a:lnTo>
                <a:cubicBezTo>
                  <a:pt x="3039904" y="182404"/>
                  <a:pt x="3032284" y="176689"/>
                  <a:pt x="3032284" y="166211"/>
                </a:cubicBezTo>
                <a:cubicBezTo>
                  <a:pt x="3032284" y="150971"/>
                  <a:pt x="3045619" y="136303"/>
                  <a:pt x="3075623" y="136303"/>
                </a:cubicBezTo>
                <a:cubicBezTo>
                  <a:pt x="3093244" y="136303"/>
                  <a:pt x="3111246" y="142018"/>
                  <a:pt x="3122676" y="153924"/>
                </a:cubicBezTo>
                <a:lnTo>
                  <a:pt x="3163062" y="118300"/>
                </a:lnTo>
                <a:close/>
                <a:moveTo>
                  <a:pt x="2858453" y="231934"/>
                </a:moveTo>
                <a:lnTo>
                  <a:pt x="2855595" y="246697"/>
                </a:lnTo>
                <a:cubicBezTo>
                  <a:pt x="2853214" y="259080"/>
                  <a:pt x="2848451" y="270415"/>
                  <a:pt x="2840831" y="278035"/>
                </a:cubicBezTo>
                <a:cubicBezTo>
                  <a:pt x="2831783" y="287083"/>
                  <a:pt x="2818448" y="293275"/>
                  <a:pt x="2802350" y="293275"/>
                </a:cubicBezTo>
                <a:cubicBezTo>
                  <a:pt x="2780919" y="293275"/>
                  <a:pt x="2770918" y="283750"/>
                  <a:pt x="2770918" y="269938"/>
                </a:cubicBezTo>
                <a:cubicBezTo>
                  <a:pt x="2770918" y="248031"/>
                  <a:pt x="2786634" y="231838"/>
                  <a:pt x="2813209" y="231838"/>
                </a:cubicBezTo>
                <a:lnTo>
                  <a:pt x="2858453" y="231838"/>
                </a:lnTo>
                <a:close/>
                <a:moveTo>
                  <a:pt x="2930652" y="156877"/>
                </a:moveTo>
                <a:cubicBezTo>
                  <a:pt x="2930652" y="104108"/>
                  <a:pt x="2884075" y="88011"/>
                  <a:pt x="2842736" y="88011"/>
                </a:cubicBezTo>
                <a:cubicBezTo>
                  <a:pt x="2796636" y="88011"/>
                  <a:pt x="2770918" y="100870"/>
                  <a:pt x="2751011" y="121253"/>
                </a:cubicBezTo>
                <a:lnTo>
                  <a:pt x="2781395" y="160687"/>
                </a:lnTo>
                <a:cubicBezTo>
                  <a:pt x="2793778" y="146875"/>
                  <a:pt x="2810447" y="137350"/>
                  <a:pt x="2834640" y="137350"/>
                </a:cubicBezTo>
                <a:cubicBezTo>
                  <a:pt x="2859405" y="137350"/>
                  <a:pt x="2871311" y="147352"/>
                  <a:pt x="2871311" y="164021"/>
                </a:cubicBezTo>
                <a:cubicBezTo>
                  <a:pt x="2871311" y="168783"/>
                  <a:pt x="2870835" y="172117"/>
                  <a:pt x="2869883" y="176879"/>
                </a:cubicBezTo>
                <a:lnTo>
                  <a:pt x="2866549" y="191643"/>
                </a:lnTo>
                <a:lnTo>
                  <a:pt x="2807589" y="191643"/>
                </a:lnTo>
                <a:cubicBezTo>
                  <a:pt x="2779014" y="191643"/>
                  <a:pt x="2753868" y="199263"/>
                  <a:pt x="2735390" y="217265"/>
                </a:cubicBezTo>
                <a:cubicBezTo>
                  <a:pt x="2721102" y="231457"/>
                  <a:pt x="2713101" y="251460"/>
                  <a:pt x="2713101" y="275749"/>
                </a:cubicBezTo>
                <a:cubicBezTo>
                  <a:pt x="2713101" y="313277"/>
                  <a:pt x="2740628" y="340805"/>
                  <a:pt x="2783872" y="340805"/>
                </a:cubicBezTo>
                <a:cubicBezTo>
                  <a:pt x="2811018" y="340805"/>
                  <a:pt x="2829973" y="330327"/>
                  <a:pt x="2843784" y="316611"/>
                </a:cubicBezTo>
                <a:lnTo>
                  <a:pt x="2839498" y="338423"/>
                </a:lnTo>
                <a:lnTo>
                  <a:pt x="2896076" y="338423"/>
                </a:lnTo>
                <a:lnTo>
                  <a:pt x="2928366" y="178784"/>
                </a:lnTo>
                <a:cubicBezTo>
                  <a:pt x="2929700" y="172021"/>
                  <a:pt x="2930652" y="163544"/>
                  <a:pt x="2930652" y="156877"/>
                </a:cubicBezTo>
                <a:moveTo>
                  <a:pt x="2697766" y="0"/>
                </a:moveTo>
                <a:lnTo>
                  <a:pt x="2638806" y="0"/>
                </a:lnTo>
                <a:lnTo>
                  <a:pt x="2586133" y="264223"/>
                </a:lnTo>
                <a:cubicBezTo>
                  <a:pt x="2584704" y="270891"/>
                  <a:pt x="2584228" y="277082"/>
                  <a:pt x="2584228" y="284702"/>
                </a:cubicBezTo>
                <a:cubicBezTo>
                  <a:pt x="2584228" y="318421"/>
                  <a:pt x="2609374" y="338328"/>
                  <a:pt x="2643569" y="338328"/>
                </a:cubicBezTo>
                <a:lnTo>
                  <a:pt x="2675858" y="338328"/>
                </a:lnTo>
                <a:lnTo>
                  <a:pt x="2685860" y="288512"/>
                </a:lnTo>
                <a:lnTo>
                  <a:pt x="2661666" y="288512"/>
                </a:lnTo>
                <a:cubicBezTo>
                  <a:pt x="2648807" y="288512"/>
                  <a:pt x="2643569" y="283273"/>
                  <a:pt x="2643569" y="274225"/>
                </a:cubicBezTo>
                <a:cubicBezTo>
                  <a:pt x="2643569" y="270415"/>
                  <a:pt x="2644045" y="268033"/>
                  <a:pt x="2644997" y="263747"/>
                </a:cubicBezTo>
                <a:lnTo>
                  <a:pt x="2697766" y="0"/>
                </a:lnTo>
                <a:close/>
                <a:moveTo>
                  <a:pt x="2514791" y="94583"/>
                </a:moveTo>
                <a:cubicBezTo>
                  <a:pt x="2514791" y="120301"/>
                  <a:pt x="2496217" y="151638"/>
                  <a:pt x="2455355" y="151638"/>
                </a:cubicBezTo>
                <a:lnTo>
                  <a:pt x="2399253" y="151638"/>
                </a:lnTo>
                <a:lnTo>
                  <a:pt x="2418779" y="55531"/>
                </a:lnTo>
                <a:lnTo>
                  <a:pt x="2476786" y="55531"/>
                </a:lnTo>
                <a:cubicBezTo>
                  <a:pt x="2504885" y="55531"/>
                  <a:pt x="2514791" y="73152"/>
                  <a:pt x="2514791" y="94583"/>
                </a:cubicBezTo>
                <a:moveTo>
                  <a:pt x="2578037" y="89345"/>
                </a:moveTo>
                <a:cubicBezTo>
                  <a:pt x="2578037" y="36576"/>
                  <a:pt x="2544795" y="0"/>
                  <a:pt x="2487359" y="0"/>
                </a:cubicBezTo>
                <a:lnTo>
                  <a:pt x="2367058" y="0"/>
                </a:lnTo>
                <a:lnTo>
                  <a:pt x="2299049" y="338328"/>
                </a:lnTo>
                <a:lnTo>
                  <a:pt x="2361819" y="338328"/>
                </a:lnTo>
                <a:lnTo>
                  <a:pt x="2387918" y="207169"/>
                </a:lnTo>
                <a:lnTo>
                  <a:pt x="2453069" y="207169"/>
                </a:lnTo>
                <a:cubicBezTo>
                  <a:pt x="2534317" y="207169"/>
                  <a:pt x="2578037" y="149733"/>
                  <a:pt x="2578037" y="89345"/>
                </a:cubicBezTo>
                <a:moveTo>
                  <a:pt x="2105501" y="173546"/>
                </a:moveTo>
                <a:cubicBezTo>
                  <a:pt x="2105501" y="181165"/>
                  <a:pt x="2104073" y="192596"/>
                  <a:pt x="2101215" y="207740"/>
                </a:cubicBezTo>
                <a:cubicBezTo>
                  <a:pt x="2092643" y="252413"/>
                  <a:pt x="2079307" y="275272"/>
                  <a:pt x="2048923" y="275272"/>
                </a:cubicBezTo>
                <a:cubicBezTo>
                  <a:pt x="2027111" y="275272"/>
                  <a:pt x="2019490" y="260985"/>
                  <a:pt x="2019490" y="242506"/>
                </a:cubicBezTo>
                <a:cubicBezTo>
                  <a:pt x="2019490" y="234887"/>
                  <a:pt x="2020919" y="223456"/>
                  <a:pt x="2023777" y="208312"/>
                </a:cubicBezTo>
                <a:cubicBezTo>
                  <a:pt x="2032349" y="163639"/>
                  <a:pt x="2045589" y="140779"/>
                  <a:pt x="2076069" y="140779"/>
                </a:cubicBezTo>
                <a:cubicBezTo>
                  <a:pt x="2096072" y="140684"/>
                  <a:pt x="2105501" y="152971"/>
                  <a:pt x="2105501" y="173546"/>
                </a:cubicBezTo>
                <a:lnTo>
                  <a:pt x="2105501" y="173546"/>
                </a:lnTo>
                <a:close/>
                <a:moveTo>
                  <a:pt x="2183035" y="90773"/>
                </a:moveTo>
                <a:lnTo>
                  <a:pt x="2125980" y="90773"/>
                </a:lnTo>
                <a:lnTo>
                  <a:pt x="2121218" y="115919"/>
                </a:lnTo>
                <a:cubicBezTo>
                  <a:pt x="2109788" y="97346"/>
                  <a:pt x="2090833" y="87821"/>
                  <a:pt x="2065115" y="87821"/>
                </a:cubicBezTo>
                <a:cubicBezTo>
                  <a:pt x="2042827" y="87821"/>
                  <a:pt x="2020443" y="94012"/>
                  <a:pt x="2001964" y="112490"/>
                </a:cubicBezTo>
                <a:cubicBezTo>
                  <a:pt x="1983010" y="131445"/>
                  <a:pt x="1973485" y="160020"/>
                  <a:pt x="1964912" y="207550"/>
                </a:cubicBezTo>
                <a:cubicBezTo>
                  <a:pt x="1961102" y="228505"/>
                  <a:pt x="1958721" y="246031"/>
                  <a:pt x="1958721" y="257937"/>
                </a:cubicBezTo>
                <a:cubicBezTo>
                  <a:pt x="1958721" y="304514"/>
                  <a:pt x="1990535" y="327755"/>
                  <a:pt x="2027111" y="327755"/>
                </a:cubicBezTo>
                <a:cubicBezTo>
                  <a:pt x="2051876" y="327755"/>
                  <a:pt x="2069402" y="318230"/>
                  <a:pt x="2082260" y="303086"/>
                </a:cubicBezTo>
                <a:lnTo>
                  <a:pt x="2077022" y="328231"/>
                </a:lnTo>
                <a:cubicBezTo>
                  <a:pt x="2070354" y="360140"/>
                  <a:pt x="2049494" y="381953"/>
                  <a:pt x="2016633" y="381953"/>
                </a:cubicBezTo>
                <a:cubicBezTo>
                  <a:pt x="1993392" y="381953"/>
                  <a:pt x="1982914" y="370999"/>
                  <a:pt x="1975295" y="362426"/>
                </a:cubicBezTo>
                <a:lnTo>
                  <a:pt x="1934432" y="398050"/>
                </a:lnTo>
                <a:cubicBezTo>
                  <a:pt x="1955387" y="421767"/>
                  <a:pt x="1980533" y="431768"/>
                  <a:pt x="2016633" y="431768"/>
                </a:cubicBezTo>
                <a:cubicBezTo>
                  <a:pt x="2073688" y="431768"/>
                  <a:pt x="2121218" y="400907"/>
                  <a:pt x="2135505" y="328613"/>
                </a:cubicBezTo>
                <a:lnTo>
                  <a:pt x="2183035" y="90773"/>
                </a:lnTo>
                <a:close/>
                <a:moveTo>
                  <a:pt x="1924431" y="156305"/>
                </a:moveTo>
                <a:cubicBezTo>
                  <a:pt x="1924431" y="107347"/>
                  <a:pt x="1890236" y="87916"/>
                  <a:pt x="1861280" y="87916"/>
                </a:cubicBezTo>
                <a:cubicBezTo>
                  <a:pt x="1835563" y="87916"/>
                  <a:pt x="1811846" y="97441"/>
                  <a:pt x="1796129" y="114490"/>
                </a:cubicBezTo>
                <a:lnTo>
                  <a:pt x="1800415" y="90773"/>
                </a:lnTo>
                <a:lnTo>
                  <a:pt x="1743837" y="90773"/>
                </a:lnTo>
                <a:lnTo>
                  <a:pt x="1694402" y="338328"/>
                </a:lnTo>
                <a:lnTo>
                  <a:pt x="1753362" y="338328"/>
                </a:lnTo>
                <a:lnTo>
                  <a:pt x="1783747" y="188119"/>
                </a:lnTo>
                <a:cubicBezTo>
                  <a:pt x="1791367" y="149066"/>
                  <a:pt x="1816989" y="140589"/>
                  <a:pt x="1834134" y="140589"/>
                </a:cubicBezTo>
                <a:cubicBezTo>
                  <a:pt x="1849374" y="140589"/>
                  <a:pt x="1863566" y="150114"/>
                  <a:pt x="1863566" y="171450"/>
                </a:cubicBezTo>
                <a:cubicBezTo>
                  <a:pt x="1863566" y="176213"/>
                  <a:pt x="1862614" y="181928"/>
                  <a:pt x="1861661" y="187642"/>
                </a:cubicBezTo>
                <a:lnTo>
                  <a:pt x="1831277" y="338328"/>
                </a:lnTo>
                <a:lnTo>
                  <a:pt x="1890141" y="338328"/>
                </a:lnTo>
                <a:lnTo>
                  <a:pt x="1921002" y="183832"/>
                </a:lnTo>
                <a:cubicBezTo>
                  <a:pt x="1923002" y="175831"/>
                  <a:pt x="1924431" y="165354"/>
                  <a:pt x="1924431" y="156305"/>
                </a:cubicBezTo>
                <a:moveTo>
                  <a:pt x="1702022" y="953"/>
                </a:moveTo>
                <a:lnTo>
                  <a:pt x="1641157" y="953"/>
                </a:lnTo>
                <a:lnTo>
                  <a:pt x="1631632" y="49816"/>
                </a:lnTo>
                <a:lnTo>
                  <a:pt x="1692021" y="49816"/>
                </a:lnTo>
                <a:lnTo>
                  <a:pt x="1702022" y="953"/>
                </a:lnTo>
                <a:close/>
                <a:moveTo>
                  <a:pt x="1682115" y="98393"/>
                </a:moveTo>
                <a:lnTo>
                  <a:pt x="1623155" y="98393"/>
                </a:lnTo>
                <a:lnTo>
                  <a:pt x="1575149" y="338423"/>
                </a:lnTo>
                <a:lnTo>
                  <a:pt x="1634109" y="338423"/>
                </a:lnTo>
                <a:lnTo>
                  <a:pt x="1682115" y="98393"/>
                </a:lnTo>
                <a:close/>
                <a:moveTo>
                  <a:pt x="1592199" y="111252"/>
                </a:moveTo>
                <a:cubicBezTo>
                  <a:pt x="1578864" y="95536"/>
                  <a:pt x="1563243" y="88011"/>
                  <a:pt x="1539431" y="88011"/>
                </a:cubicBezTo>
                <a:cubicBezTo>
                  <a:pt x="1513713" y="88011"/>
                  <a:pt x="1490472" y="98488"/>
                  <a:pt x="1476661" y="115062"/>
                </a:cubicBezTo>
                <a:lnTo>
                  <a:pt x="1481900" y="90869"/>
                </a:lnTo>
                <a:lnTo>
                  <a:pt x="1424845" y="90869"/>
                </a:lnTo>
                <a:lnTo>
                  <a:pt x="1375410" y="338423"/>
                </a:lnTo>
                <a:lnTo>
                  <a:pt x="1434370" y="338423"/>
                </a:lnTo>
                <a:lnTo>
                  <a:pt x="1464278" y="188690"/>
                </a:lnTo>
                <a:cubicBezTo>
                  <a:pt x="1469993" y="160115"/>
                  <a:pt x="1490853" y="141161"/>
                  <a:pt x="1514189" y="141161"/>
                </a:cubicBezTo>
                <a:cubicBezTo>
                  <a:pt x="1527048" y="141161"/>
                  <a:pt x="1535144" y="148304"/>
                  <a:pt x="1541240" y="156400"/>
                </a:cubicBezTo>
                <a:lnTo>
                  <a:pt x="1592199" y="111252"/>
                </a:lnTo>
                <a:close/>
                <a:moveTo>
                  <a:pt x="1298067" y="176308"/>
                </a:moveTo>
                <a:cubicBezTo>
                  <a:pt x="1298067" y="181546"/>
                  <a:pt x="1297591" y="187738"/>
                  <a:pt x="1296638" y="192977"/>
                </a:cubicBezTo>
                <a:lnTo>
                  <a:pt x="1205770" y="192977"/>
                </a:lnTo>
                <a:cubicBezTo>
                  <a:pt x="1216724" y="152495"/>
                  <a:pt x="1237679" y="136303"/>
                  <a:pt x="1262825" y="136303"/>
                </a:cubicBezTo>
                <a:cubicBezTo>
                  <a:pt x="1283780" y="136398"/>
                  <a:pt x="1298067" y="150209"/>
                  <a:pt x="1298067" y="176308"/>
                </a:cubicBezTo>
                <a:moveTo>
                  <a:pt x="1354074" y="176308"/>
                </a:moveTo>
                <a:cubicBezTo>
                  <a:pt x="1354074" y="122587"/>
                  <a:pt x="1318451" y="87916"/>
                  <a:pt x="1266158" y="87916"/>
                </a:cubicBezTo>
                <a:cubicBezTo>
                  <a:pt x="1180529" y="87916"/>
                  <a:pt x="1140238" y="171069"/>
                  <a:pt x="1140238" y="254222"/>
                </a:cubicBezTo>
                <a:cubicBezTo>
                  <a:pt x="1140238" y="319373"/>
                  <a:pt x="1189101" y="341186"/>
                  <a:pt x="1231964" y="341186"/>
                </a:cubicBezTo>
                <a:cubicBezTo>
                  <a:pt x="1269111" y="341186"/>
                  <a:pt x="1302830" y="328803"/>
                  <a:pt x="1328452" y="305086"/>
                </a:cubicBezTo>
                <a:lnTo>
                  <a:pt x="1297591" y="266129"/>
                </a:lnTo>
                <a:cubicBezTo>
                  <a:pt x="1280446" y="282797"/>
                  <a:pt x="1262348" y="291370"/>
                  <a:pt x="1238631" y="291370"/>
                </a:cubicBezTo>
                <a:cubicBezTo>
                  <a:pt x="1210056" y="291370"/>
                  <a:pt x="1196340" y="274225"/>
                  <a:pt x="1196340" y="249936"/>
                </a:cubicBezTo>
                <a:cubicBezTo>
                  <a:pt x="1196340" y="244221"/>
                  <a:pt x="1197293" y="238030"/>
                  <a:pt x="1198245" y="232315"/>
                </a:cubicBezTo>
                <a:lnTo>
                  <a:pt x="1346549" y="232315"/>
                </a:lnTo>
                <a:cubicBezTo>
                  <a:pt x="1350740" y="213360"/>
                  <a:pt x="1354074" y="192977"/>
                  <a:pt x="1354074" y="176308"/>
                </a:cubicBezTo>
                <a:moveTo>
                  <a:pt x="1054227" y="176308"/>
                </a:moveTo>
                <a:cubicBezTo>
                  <a:pt x="1054227" y="181546"/>
                  <a:pt x="1053751" y="187738"/>
                  <a:pt x="1052798" y="192977"/>
                </a:cubicBezTo>
                <a:lnTo>
                  <a:pt x="961930" y="192977"/>
                </a:lnTo>
                <a:cubicBezTo>
                  <a:pt x="972884" y="152495"/>
                  <a:pt x="993838" y="136303"/>
                  <a:pt x="1018984" y="136303"/>
                </a:cubicBezTo>
                <a:cubicBezTo>
                  <a:pt x="1039940" y="136398"/>
                  <a:pt x="1054227" y="150209"/>
                  <a:pt x="1054227" y="176308"/>
                </a:cubicBezTo>
                <a:moveTo>
                  <a:pt x="1110234" y="176308"/>
                </a:moveTo>
                <a:cubicBezTo>
                  <a:pt x="1110234" y="122587"/>
                  <a:pt x="1074611" y="87916"/>
                  <a:pt x="1022318" y="87916"/>
                </a:cubicBezTo>
                <a:cubicBezTo>
                  <a:pt x="936688" y="87916"/>
                  <a:pt x="896398" y="171069"/>
                  <a:pt x="896398" y="254222"/>
                </a:cubicBezTo>
                <a:cubicBezTo>
                  <a:pt x="896398" y="319373"/>
                  <a:pt x="945261" y="341186"/>
                  <a:pt x="988124" y="341186"/>
                </a:cubicBezTo>
                <a:cubicBezTo>
                  <a:pt x="1025176" y="341186"/>
                  <a:pt x="1058990" y="328803"/>
                  <a:pt x="1084612" y="305086"/>
                </a:cubicBezTo>
                <a:lnTo>
                  <a:pt x="1053751" y="266129"/>
                </a:lnTo>
                <a:cubicBezTo>
                  <a:pt x="1036606" y="282797"/>
                  <a:pt x="1018604" y="291370"/>
                  <a:pt x="994791" y="291370"/>
                </a:cubicBezTo>
                <a:cubicBezTo>
                  <a:pt x="966216" y="291370"/>
                  <a:pt x="952500" y="274225"/>
                  <a:pt x="952500" y="249936"/>
                </a:cubicBezTo>
                <a:cubicBezTo>
                  <a:pt x="952500" y="244221"/>
                  <a:pt x="953453" y="238030"/>
                  <a:pt x="954405" y="232315"/>
                </a:cubicBezTo>
                <a:lnTo>
                  <a:pt x="1102709" y="232315"/>
                </a:lnTo>
                <a:cubicBezTo>
                  <a:pt x="1106900" y="213360"/>
                  <a:pt x="1110234" y="192977"/>
                  <a:pt x="1110234" y="176308"/>
                </a:cubicBezTo>
                <a:moveTo>
                  <a:pt x="863537" y="156305"/>
                </a:moveTo>
                <a:cubicBezTo>
                  <a:pt x="863537" y="107347"/>
                  <a:pt x="829342" y="87916"/>
                  <a:pt x="800386" y="87916"/>
                </a:cubicBezTo>
                <a:cubicBezTo>
                  <a:pt x="774763" y="87916"/>
                  <a:pt x="750951" y="97441"/>
                  <a:pt x="735235" y="114490"/>
                </a:cubicBezTo>
                <a:lnTo>
                  <a:pt x="739521" y="90773"/>
                </a:lnTo>
                <a:lnTo>
                  <a:pt x="682943" y="90773"/>
                </a:lnTo>
                <a:lnTo>
                  <a:pt x="633508" y="338328"/>
                </a:lnTo>
                <a:lnTo>
                  <a:pt x="692468" y="338328"/>
                </a:lnTo>
                <a:lnTo>
                  <a:pt x="722852" y="188119"/>
                </a:lnTo>
                <a:cubicBezTo>
                  <a:pt x="730472" y="149066"/>
                  <a:pt x="756095" y="140589"/>
                  <a:pt x="773240" y="140589"/>
                </a:cubicBezTo>
                <a:cubicBezTo>
                  <a:pt x="788480" y="140589"/>
                  <a:pt x="802672" y="150114"/>
                  <a:pt x="802672" y="171450"/>
                </a:cubicBezTo>
                <a:cubicBezTo>
                  <a:pt x="802672" y="176213"/>
                  <a:pt x="801719" y="181928"/>
                  <a:pt x="800767" y="187642"/>
                </a:cubicBezTo>
                <a:lnTo>
                  <a:pt x="770382" y="338328"/>
                </a:lnTo>
                <a:lnTo>
                  <a:pt x="829247" y="338328"/>
                </a:lnTo>
                <a:lnTo>
                  <a:pt x="860108" y="183832"/>
                </a:lnTo>
                <a:cubicBezTo>
                  <a:pt x="862108" y="175831"/>
                  <a:pt x="863537" y="165354"/>
                  <a:pt x="863537" y="156305"/>
                </a:cubicBezTo>
                <a:moveTo>
                  <a:pt x="553688" y="176308"/>
                </a:moveTo>
                <a:cubicBezTo>
                  <a:pt x="553688" y="181546"/>
                  <a:pt x="552736" y="193453"/>
                  <a:pt x="548450" y="214313"/>
                </a:cubicBezTo>
                <a:cubicBezTo>
                  <a:pt x="542734" y="245269"/>
                  <a:pt x="535115" y="264700"/>
                  <a:pt x="523208" y="276130"/>
                </a:cubicBezTo>
                <a:cubicBezTo>
                  <a:pt x="515588" y="283750"/>
                  <a:pt x="505111" y="288512"/>
                  <a:pt x="492824" y="288512"/>
                </a:cubicBezTo>
                <a:cubicBezTo>
                  <a:pt x="474250" y="288512"/>
                  <a:pt x="461391" y="276606"/>
                  <a:pt x="461391" y="252889"/>
                </a:cubicBezTo>
                <a:cubicBezTo>
                  <a:pt x="461391" y="247174"/>
                  <a:pt x="462344" y="235744"/>
                  <a:pt x="466630" y="214408"/>
                </a:cubicBezTo>
                <a:cubicBezTo>
                  <a:pt x="472821" y="184023"/>
                  <a:pt x="479965" y="164497"/>
                  <a:pt x="491871" y="153067"/>
                </a:cubicBezTo>
                <a:cubicBezTo>
                  <a:pt x="499491" y="145447"/>
                  <a:pt x="510445" y="140684"/>
                  <a:pt x="522351" y="140684"/>
                </a:cubicBezTo>
                <a:cubicBezTo>
                  <a:pt x="540925" y="140684"/>
                  <a:pt x="553688" y="152019"/>
                  <a:pt x="553688" y="176308"/>
                </a:cubicBezTo>
                <a:moveTo>
                  <a:pt x="612172" y="169640"/>
                </a:moveTo>
                <a:cubicBezTo>
                  <a:pt x="612172" y="112586"/>
                  <a:pt x="569881" y="87916"/>
                  <a:pt x="528542" y="87916"/>
                </a:cubicBezTo>
                <a:cubicBezTo>
                  <a:pt x="497110" y="87916"/>
                  <a:pt x="471011" y="98393"/>
                  <a:pt x="452438" y="116396"/>
                </a:cubicBezTo>
                <a:cubicBezTo>
                  <a:pt x="430625" y="137255"/>
                  <a:pt x="418719" y="162496"/>
                  <a:pt x="408242" y="214313"/>
                </a:cubicBezTo>
                <a:cubicBezTo>
                  <a:pt x="405860" y="225742"/>
                  <a:pt x="403003" y="244316"/>
                  <a:pt x="403003" y="259461"/>
                </a:cubicBezTo>
                <a:cubicBezTo>
                  <a:pt x="403003" y="316516"/>
                  <a:pt x="445294" y="341186"/>
                  <a:pt x="487109" y="341186"/>
                </a:cubicBezTo>
                <a:cubicBezTo>
                  <a:pt x="518541" y="341186"/>
                  <a:pt x="544163" y="330708"/>
                  <a:pt x="563213" y="312706"/>
                </a:cubicBezTo>
                <a:cubicBezTo>
                  <a:pt x="584549" y="291846"/>
                  <a:pt x="596932" y="266605"/>
                  <a:pt x="607409" y="214313"/>
                </a:cubicBezTo>
                <a:cubicBezTo>
                  <a:pt x="609314" y="203454"/>
                  <a:pt x="612172" y="184880"/>
                  <a:pt x="612172" y="169640"/>
                </a:cubicBezTo>
                <a:moveTo>
                  <a:pt x="401098" y="953"/>
                </a:moveTo>
                <a:lnTo>
                  <a:pt x="340233" y="953"/>
                </a:lnTo>
                <a:lnTo>
                  <a:pt x="330708" y="49816"/>
                </a:lnTo>
                <a:lnTo>
                  <a:pt x="391096" y="49816"/>
                </a:lnTo>
                <a:lnTo>
                  <a:pt x="401098" y="953"/>
                </a:lnTo>
                <a:close/>
                <a:moveTo>
                  <a:pt x="381191" y="98393"/>
                </a:moveTo>
                <a:lnTo>
                  <a:pt x="322231" y="98393"/>
                </a:lnTo>
                <a:lnTo>
                  <a:pt x="274225" y="338423"/>
                </a:lnTo>
                <a:lnTo>
                  <a:pt x="333184" y="338423"/>
                </a:lnTo>
                <a:lnTo>
                  <a:pt x="381191" y="98393"/>
                </a:lnTo>
                <a:close/>
                <a:moveTo>
                  <a:pt x="215741" y="94583"/>
                </a:moveTo>
                <a:cubicBezTo>
                  <a:pt x="215741" y="120301"/>
                  <a:pt x="197167" y="151638"/>
                  <a:pt x="156305" y="151638"/>
                </a:cubicBezTo>
                <a:lnTo>
                  <a:pt x="100203" y="151638"/>
                </a:lnTo>
                <a:lnTo>
                  <a:pt x="119729" y="55531"/>
                </a:lnTo>
                <a:lnTo>
                  <a:pt x="177737" y="55531"/>
                </a:lnTo>
                <a:cubicBezTo>
                  <a:pt x="205835" y="55531"/>
                  <a:pt x="215741" y="73152"/>
                  <a:pt x="215741" y="94583"/>
                </a:cubicBezTo>
                <a:moveTo>
                  <a:pt x="278987" y="89345"/>
                </a:moveTo>
                <a:cubicBezTo>
                  <a:pt x="278987" y="36576"/>
                  <a:pt x="245745" y="0"/>
                  <a:pt x="188214" y="0"/>
                </a:cubicBezTo>
                <a:lnTo>
                  <a:pt x="68008" y="0"/>
                </a:lnTo>
                <a:lnTo>
                  <a:pt x="0" y="338328"/>
                </a:lnTo>
                <a:lnTo>
                  <a:pt x="62770" y="338328"/>
                </a:lnTo>
                <a:lnTo>
                  <a:pt x="88868" y="207169"/>
                </a:lnTo>
                <a:lnTo>
                  <a:pt x="154019" y="207169"/>
                </a:lnTo>
                <a:cubicBezTo>
                  <a:pt x="235267" y="207169"/>
                  <a:pt x="278987" y="149733"/>
                  <a:pt x="278987" y="89345"/>
                </a:cubicBezTo>
              </a:path>
            </a:pathLst>
          </a:custGeom>
          <a:solidFill>
            <a:srgbClr val="FF83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60" name="Regieanweisung // Allgemein">
            <a:extLst>
              <a:ext uri="{FF2B5EF4-FFF2-40B4-BE49-F238E27FC236}">
                <a16:creationId xmlns:a16="http://schemas.microsoft.com/office/drawing/2014/main" id="{AC73BBD4-CFA9-4DA8-AB98-6CB01A9EADA9}"/>
              </a:ext>
            </a:extLst>
          </p:cNvPr>
          <p:cNvSpPr txBox="1"/>
          <p:nvPr userDrawn="1"/>
        </p:nvSpPr>
        <p:spPr>
          <a:xfrm rot="10800000" flipH="1" flipV="1">
            <a:off x="12345888" y="3580614"/>
            <a:ext cx="1570138" cy="2299842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txBody>
          <a:bodyPr vert="horz" wrap="square" lIns="72000" tIns="72000" rIns="72000" bIns="72000" rtlCol="0" anchor="b" anchorCtr="0">
            <a:sp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To insert gridlines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View // Show //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check gridlines</a:t>
            </a:r>
          </a:p>
          <a:p>
            <a:pPr marL="0" marR="0" lvl="0" indent="0" algn="l" defTabSz="10430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b="0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Bring back slide 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to original shape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Slide // Rese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Change Indent</a:t>
            </a:r>
            <a:br>
              <a:rPr lang="en-US" sz="1000" b="0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Paragraph // </a:t>
            </a:r>
            <a:br>
              <a:rPr lang="en-US" sz="1000" b="1" baseline="0" dirty="0">
                <a:solidFill>
                  <a:schemeClr val="bg1"/>
                </a:solidFill>
                <a:latin typeface="+mn-lt"/>
              </a:rPr>
            </a:b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Left or Right Inden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000" b="1" baseline="0" dirty="0">
              <a:solidFill>
                <a:schemeClr val="bg1"/>
              </a:solidFill>
              <a:latin typeface="+mn-lt"/>
            </a:endParaRP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baseline="0" dirty="0">
                <a:solidFill>
                  <a:schemeClr val="bg1"/>
                </a:solidFill>
                <a:latin typeface="+mn-lt"/>
              </a:rPr>
              <a:t>Change slide layout</a:t>
            </a:r>
          </a:p>
          <a:p>
            <a:pPr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1" baseline="0" dirty="0">
                <a:solidFill>
                  <a:schemeClr val="bg1"/>
                </a:solidFill>
                <a:latin typeface="+mn-lt"/>
              </a:rPr>
              <a:t>Home // Slides // Layout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E710D90C-509F-46A4-98CD-BF0AB6F45053}"/>
              </a:ext>
            </a:extLst>
          </p:cNvPr>
          <p:cNvGrpSpPr/>
          <p:nvPr userDrawn="1"/>
        </p:nvGrpSpPr>
        <p:grpSpPr>
          <a:xfrm>
            <a:off x="-593725" y="-459394"/>
            <a:ext cx="12161838" cy="6985599"/>
            <a:chOff x="-593725" y="-459394"/>
            <a:chExt cx="12161838" cy="6985599"/>
          </a:xfrm>
        </p:grpSpPr>
        <p:sp>
          <p:nvSpPr>
            <p:cNvPr id="53" name="Linientext 05,60">
              <a:extLst>
                <a:ext uri="{FF2B5EF4-FFF2-40B4-BE49-F238E27FC236}">
                  <a16:creationId xmlns:a16="http://schemas.microsoft.com/office/drawing/2014/main" id="{CE2EDC6A-6140-438C-8364-AAB6B46120F8}"/>
                </a:ext>
              </a:extLst>
            </p:cNvPr>
            <p:cNvSpPr txBox="1"/>
            <p:nvPr userDrawn="1"/>
          </p:nvSpPr>
          <p:spPr>
            <a:xfrm>
              <a:off x="-588169" y="1392649"/>
              <a:ext cx="438350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5.2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2" name="Hilfslinie 12,10">
              <a:extLst>
                <a:ext uri="{FF2B5EF4-FFF2-40B4-BE49-F238E27FC236}">
                  <a16:creationId xmlns:a16="http://schemas.microsoft.com/office/drawing/2014/main" id="{F5AFF8D6-CADA-4606-AABC-3A75A26F07BB}"/>
                </a:ext>
              </a:extLst>
            </p:cNvPr>
            <p:cNvCxnSpPr/>
            <p:nvPr userDrawn="1"/>
          </p:nvCxnSpPr>
          <p:spPr>
            <a:xfrm flipV="1">
              <a:off x="11568113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Linientext 12,10">
              <a:extLst>
                <a:ext uri="{FF2B5EF4-FFF2-40B4-BE49-F238E27FC236}">
                  <a16:creationId xmlns:a16="http://schemas.microsoft.com/office/drawing/2014/main" id="{B0893882-7653-4DAC-9EDD-E42040F1711C}"/>
                </a:ext>
              </a:extLst>
            </p:cNvPr>
            <p:cNvSpPr txBox="1"/>
            <p:nvPr userDrawn="1"/>
          </p:nvSpPr>
          <p:spPr>
            <a:xfrm>
              <a:off x="10819410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sp>
          <p:nvSpPr>
            <p:cNvPr id="64" name="Linientext 13,95">
              <a:extLst>
                <a:ext uri="{FF2B5EF4-FFF2-40B4-BE49-F238E27FC236}">
                  <a16:creationId xmlns:a16="http://schemas.microsoft.com/office/drawing/2014/main" id="{487D75B7-60AF-4541-A0A1-015113C18E99}"/>
                </a:ext>
              </a:extLst>
            </p:cNvPr>
            <p:cNvSpPr txBox="1"/>
            <p:nvPr userDrawn="1"/>
          </p:nvSpPr>
          <p:spPr>
            <a:xfrm>
              <a:off x="68021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5.20</a:t>
              </a:r>
            </a:p>
          </p:txBody>
        </p:sp>
        <p:cxnSp>
          <p:nvCxnSpPr>
            <p:cNvPr id="65" name="Hilfslinie 13,95">
              <a:extLst>
                <a:ext uri="{FF2B5EF4-FFF2-40B4-BE49-F238E27FC236}">
                  <a16:creationId xmlns:a16="http://schemas.microsoft.com/office/drawing/2014/main" id="{3CF69FD9-AF1A-47E0-8938-4C14FBD5B0A9}"/>
                </a:ext>
              </a:extLst>
            </p:cNvPr>
            <p:cNvCxnSpPr/>
            <p:nvPr userDrawn="1"/>
          </p:nvCxnSpPr>
          <p:spPr>
            <a:xfrm flipV="1">
              <a:off x="624319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Hilfslinie 12,10">
              <a:extLst>
                <a:ext uri="{FF2B5EF4-FFF2-40B4-BE49-F238E27FC236}">
                  <a16:creationId xmlns:a16="http://schemas.microsoft.com/office/drawing/2014/main" id="{527017FB-EC4D-499D-89AA-914C6B8E6781}"/>
                </a:ext>
              </a:extLst>
            </p:cNvPr>
            <p:cNvCxnSpPr/>
            <p:nvPr userDrawn="1"/>
          </p:nvCxnSpPr>
          <p:spPr>
            <a:xfrm flipV="1">
              <a:off x="5988050" y="-459392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Linientext 12,10">
              <a:extLst>
                <a:ext uri="{FF2B5EF4-FFF2-40B4-BE49-F238E27FC236}">
                  <a16:creationId xmlns:a16="http://schemas.microsoft.com/office/drawing/2014/main" id="{36EA5250-90F1-458B-8727-4555AB8F71E1}"/>
                </a:ext>
              </a:extLst>
            </p:cNvPr>
            <p:cNvSpPr txBox="1"/>
            <p:nvPr userDrawn="1"/>
          </p:nvSpPr>
          <p:spPr>
            <a:xfrm>
              <a:off x="5239347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sp>
          <p:nvSpPr>
            <p:cNvPr id="69" name="Linientext 13,95">
              <a:extLst>
                <a:ext uri="{FF2B5EF4-FFF2-40B4-BE49-F238E27FC236}">
                  <a16:creationId xmlns:a16="http://schemas.microsoft.com/office/drawing/2014/main" id="{D161C045-D194-42D4-B52F-C853441714CE}"/>
                </a:ext>
              </a:extLst>
            </p:cNvPr>
            <p:cNvSpPr txBox="1"/>
            <p:nvPr userDrawn="1"/>
          </p:nvSpPr>
          <p:spPr>
            <a:xfrm>
              <a:off x="6259011" y="-459392"/>
              <a:ext cx="702645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t" anchorCtr="0">
              <a:sp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30</a:t>
              </a:r>
            </a:p>
          </p:txBody>
        </p:sp>
        <p:cxnSp>
          <p:nvCxnSpPr>
            <p:cNvPr id="70" name="Hilfslinie 13,95">
              <a:extLst>
                <a:ext uri="{FF2B5EF4-FFF2-40B4-BE49-F238E27FC236}">
                  <a16:creationId xmlns:a16="http://schemas.microsoft.com/office/drawing/2014/main" id="{A6138759-823A-4342-9FC7-A7C9CECCED4C}"/>
                </a:ext>
              </a:extLst>
            </p:cNvPr>
            <p:cNvCxnSpPr/>
            <p:nvPr userDrawn="1"/>
          </p:nvCxnSpPr>
          <p:spPr>
            <a:xfrm flipV="1">
              <a:off x="6203113" y="-459394"/>
              <a:ext cx="0" cy="36000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Linientext 05,60">
              <a:extLst>
                <a:ext uri="{FF2B5EF4-FFF2-40B4-BE49-F238E27FC236}">
                  <a16:creationId xmlns:a16="http://schemas.microsoft.com/office/drawing/2014/main" id="{E524AACD-1FD9-484E-B87D-5D4797323347}"/>
                </a:ext>
              </a:extLst>
            </p:cNvPr>
            <p:cNvSpPr txBox="1"/>
            <p:nvPr userDrawn="1"/>
          </p:nvSpPr>
          <p:spPr>
            <a:xfrm>
              <a:off x="-585789" y="3442115"/>
              <a:ext cx="435969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0.5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Linientext 05,60">
              <a:extLst>
                <a:ext uri="{FF2B5EF4-FFF2-40B4-BE49-F238E27FC236}">
                  <a16:creationId xmlns:a16="http://schemas.microsoft.com/office/drawing/2014/main" id="{D4853C99-FCFC-4390-9055-59EF30A2F70D}"/>
                </a:ext>
              </a:extLst>
            </p:cNvPr>
            <p:cNvSpPr txBox="1"/>
            <p:nvPr userDrawn="1"/>
          </p:nvSpPr>
          <p:spPr>
            <a:xfrm>
              <a:off x="-583407" y="3855659"/>
              <a:ext cx="433587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1.1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Linientext 05,60">
              <a:extLst>
                <a:ext uri="{FF2B5EF4-FFF2-40B4-BE49-F238E27FC236}">
                  <a16:creationId xmlns:a16="http://schemas.microsoft.com/office/drawing/2014/main" id="{E4FEC73E-CE0D-478E-A646-4E60832A40F2}"/>
                </a:ext>
              </a:extLst>
            </p:cNvPr>
            <p:cNvSpPr txBox="1"/>
            <p:nvPr userDrawn="1"/>
          </p:nvSpPr>
          <p:spPr>
            <a:xfrm>
              <a:off x="-593725" y="5711446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6.8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Linientext 05,60">
              <a:extLst>
                <a:ext uri="{FF2B5EF4-FFF2-40B4-BE49-F238E27FC236}">
                  <a16:creationId xmlns:a16="http://schemas.microsoft.com/office/drawing/2014/main" id="{D3E74DBA-BFBA-4B7E-B774-F48AB10FC1F7}"/>
                </a:ext>
              </a:extLst>
            </p:cNvPr>
            <p:cNvSpPr txBox="1"/>
            <p:nvPr userDrawn="1"/>
          </p:nvSpPr>
          <p:spPr>
            <a:xfrm>
              <a:off x="-577851" y="6360726"/>
              <a:ext cx="428031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8.6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Hilfslinie 05,60">
              <a:extLst>
                <a:ext uri="{FF2B5EF4-FFF2-40B4-BE49-F238E27FC236}">
                  <a16:creationId xmlns:a16="http://schemas.microsoft.com/office/drawing/2014/main" id="{53F4C2F0-F63E-48CC-B8F1-F1D36844A3BF}"/>
                </a:ext>
              </a:extLst>
            </p:cNvPr>
            <p:cNvCxnSpPr/>
            <p:nvPr userDrawn="1"/>
          </p:nvCxnSpPr>
          <p:spPr>
            <a:xfrm>
              <a:off x="-581819" y="1558128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Hilfslinie 05,60">
              <a:extLst>
                <a:ext uri="{FF2B5EF4-FFF2-40B4-BE49-F238E27FC236}">
                  <a16:creationId xmlns:a16="http://schemas.microsoft.com/office/drawing/2014/main" id="{B9290E44-BB8D-49A2-9381-8B851D7CB856}"/>
                </a:ext>
              </a:extLst>
            </p:cNvPr>
            <p:cNvCxnSpPr/>
            <p:nvPr userDrawn="1"/>
          </p:nvCxnSpPr>
          <p:spPr>
            <a:xfrm>
              <a:off x="-581819" y="36075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Hilfslinie 05,60">
              <a:extLst>
                <a:ext uri="{FF2B5EF4-FFF2-40B4-BE49-F238E27FC236}">
                  <a16:creationId xmlns:a16="http://schemas.microsoft.com/office/drawing/2014/main" id="{70C7C2A0-F39F-44E7-B7EA-A340BF309F8D}"/>
                </a:ext>
              </a:extLst>
            </p:cNvPr>
            <p:cNvCxnSpPr/>
            <p:nvPr userDrawn="1"/>
          </p:nvCxnSpPr>
          <p:spPr>
            <a:xfrm>
              <a:off x="-581819" y="382349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Hilfslinie 05,60">
              <a:extLst>
                <a:ext uri="{FF2B5EF4-FFF2-40B4-BE49-F238E27FC236}">
                  <a16:creationId xmlns:a16="http://schemas.microsoft.com/office/drawing/2014/main" id="{26111A8A-0169-40AC-9981-06993F426938}"/>
                </a:ext>
              </a:extLst>
            </p:cNvPr>
            <p:cNvCxnSpPr/>
            <p:nvPr userDrawn="1"/>
          </p:nvCxnSpPr>
          <p:spPr>
            <a:xfrm>
              <a:off x="-581819" y="587692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Hilfslinie 05,60">
              <a:extLst>
                <a:ext uri="{FF2B5EF4-FFF2-40B4-BE49-F238E27FC236}">
                  <a16:creationId xmlns:a16="http://schemas.microsoft.com/office/drawing/2014/main" id="{4BD9DA3D-B07C-41B4-8C4C-1E2DD8835214}"/>
                </a:ext>
              </a:extLst>
            </p:cNvPr>
            <p:cNvCxnSpPr/>
            <p:nvPr userDrawn="1"/>
          </p:nvCxnSpPr>
          <p:spPr>
            <a:xfrm>
              <a:off x="-581819" y="6526205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4" name="Linientext 05,60">
              <a:extLst>
                <a:ext uri="{FF2B5EF4-FFF2-40B4-BE49-F238E27FC236}">
                  <a16:creationId xmlns:a16="http://schemas.microsoft.com/office/drawing/2014/main" id="{35FA5D92-89B9-454E-A810-FD586126346C}"/>
                </a:ext>
              </a:extLst>
            </p:cNvPr>
            <p:cNvSpPr txBox="1"/>
            <p:nvPr userDrawn="1"/>
          </p:nvSpPr>
          <p:spPr>
            <a:xfrm>
              <a:off x="-593725" y="6036085"/>
              <a:ext cx="443906" cy="138499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lnSpc>
                  <a:spcPct val="100000"/>
                </a:lnSpc>
              </a:pPr>
              <a:r>
                <a:rPr lang="en-US" sz="900" dirty="0">
                  <a:solidFill>
                    <a:schemeClr val="tx1"/>
                  </a:solidFill>
                  <a:latin typeface="+mn-lt"/>
                </a:rPr>
                <a:t>7.70</a:t>
              </a:r>
              <a:endParaRPr lang="en-US" sz="900" baseline="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5" name="Hilfslinie 05,60">
              <a:extLst>
                <a:ext uri="{FF2B5EF4-FFF2-40B4-BE49-F238E27FC236}">
                  <a16:creationId xmlns:a16="http://schemas.microsoft.com/office/drawing/2014/main" id="{9886F77B-5A60-421A-A75E-82E3464F794C}"/>
                </a:ext>
              </a:extLst>
            </p:cNvPr>
            <p:cNvCxnSpPr/>
            <p:nvPr userDrawn="1"/>
          </p:nvCxnSpPr>
          <p:spPr>
            <a:xfrm>
              <a:off x="-581819" y="6201564"/>
              <a:ext cx="432000" cy="0"/>
            </a:xfrm>
            <a:prstGeom prst="line">
              <a:avLst/>
            </a:prstGeom>
            <a:ln w="0" cap="sq">
              <a:solidFill>
                <a:schemeClr val="tx1"/>
              </a:solidFill>
              <a:miter lim="800000"/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A4CC006-D815-4DA0-860D-5E1151025B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353369"/>
            <a:ext cx="1172216" cy="2154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lang="en-US" sz="1400" i="1" kern="1200" smtClean="0">
                <a:solidFill>
                  <a:schemeClr val="tx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fld id="{91D2D6E7-4EF3-493D-B91C-8CCC1573E09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877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49" r:id="rId2"/>
    <p:sldLayoutId id="2147483669" r:id="rId3"/>
    <p:sldLayoutId id="2147483664" r:id="rId4"/>
    <p:sldLayoutId id="2147483670" r:id="rId5"/>
    <p:sldLayoutId id="2147483662" r:id="rId6"/>
    <p:sldLayoutId id="2147483665" r:id="rId7"/>
    <p:sldLayoutId id="2147483667" r:id="rId8"/>
    <p:sldLayoutId id="2147483650" r:id="rId9"/>
    <p:sldLayoutId id="2147483660" r:id="rId10"/>
    <p:sldLayoutId id="2147483677" r:id="rId11"/>
    <p:sldLayoutId id="2147483678" r:id="rId12"/>
    <p:sldLayoutId id="2147483661" r:id="rId13"/>
    <p:sldLayoutId id="2147483676" r:id="rId14"/>
    <p:sldLayoutId id="2147483654" r:id="rId15"/>
    <p:sldLayoutId id="2147483655" r:id="rId16"/>
    <p:sldLayoutId id="2147483674" r:id="rId17"/>
    <p:sldLayoutId id="2147483679" r:id="rId18"/>
    <p:sldLayoutId id="2147483680" r:id="rId19"/>
    <p:sldLayoutId id="2147483681" r:id="rId20"/>
    <p:sldLayoutId id="2147483675" r:id="rId21"/>
    <p:sldLayoutId id="2147483671" r:id="rId22"/>
    <p:sldLayoutId id="2147483682" r:id="rId23"/>
    <p:sldLayoutId id="2147483672" r:id="rId24"/>
    <p:sldLayoutId id="2147483683" r:id="rId25"/>
    <p:sldLayoutId id="2147483673" r:id="rId26"/>
    <p:sldLayoutId id="2147483684" r:id="rId27"/>
    <p:sldLayoutId id="2147483666" r:id="rId28"/>
    <p:sldLayoutId id="2147483685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kern="1200">
          <a:solidFill>
            <a:schemeClr val="accent4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93" userDrawn="1">
          <p15:clr>
            <a:srgbClr val="F26B43"/>
          </p15:clr>
        </p15:guide>
        <p15:guide id="3" pos="3772" userDrawn="1">
          <p15:clr>
            <a:srgbClr val="F26B43"/>
          </p15:clr>
        </p15:guide>
        <p15:guide id="4" pos="3908" userDrawn="1">
          <p15:clr>
            <a:srgbClr val="F26B43"/>
          </p15:clr>
        </p15:guide>
        <p15:guide id="6" pos="7287" userDrawn="1">
          <p15:clr>
            <a:srgbClr val="F26B43"/>
          </p15:clr>
        </p15:guide>
        <p15:guide id="7" orient="horz" pos="981" userDrawn="1">
          <p15:clr>
            <a:srgbClr val="F26B43"/>
          </p15:clr>
        </p15:guide>
        <p15:guide id="8" orient="horz" pos="2273" userDrawn="1">
          <p15:clr>
            <a:srgbClr val="F26B43"/>
          </p15:clr>
        </p15:guide>
        <p15:guide id="9" orient="horz" pos="2409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1" orient="horz" pos="4110" userDrawn="1">
          <p15:clr>
            <a:srgbClr val="F26B43"/>
          </p15:clr>
        </p15:guide>
        <p15:guide id="12" orient="horz" pos="3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chart" Target="../charts/chart1.xml"/><Relationship Id="rId7" Type="http://schemas.openxmlformats.org/officeDocument/2006/relationships/image" Target="../media/image17.png"/><Relationship Id="rId12" Type="http://schemas.microsoft.com/office/2007/relationships/diagramDrawing" Target="../diagrams/drawing1.xm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6.png"/><Relationship Id="rId11" Type="http://schemas.openxmlformats.org/officeDocument/2006/relationships/diagramColors" Target="../diagrams/colors1.xml"/><Relationship Id="rId5" Type="http://schemas.openxmlformats.org/officeDocument/2006/relationships/image" Target="../media/image15.png"/><Relationship Id="rId10" Type="http://schemas.openxmlformats.org/officeDocument/2006/relationships/diagramQuickStyle" Target="../diagrams/quickStyle1.xml"/><Relationship Id="rId4" Type="http://schemas.openxmlformats.org/officeDocument/2006/relationships/chart" Target="../charts/chart2.xml"/><Relationship Id="rId9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8881A5D3-F04B-59EA-8BE1-C56B169B00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255" y="-49520"/>
            <a:ext cx="6014745" cy="1107996"/>
          </a:xfrm>
        </p:spPr>
        <p:txBody>
          <a:bodyPr/>
          <a:lstStyle/>
          <a:p>
            <a:r>
              <a:rPr lang="sk-SK" sz="2800" b="1" dirty="0"/>
              <a:t>Separovanie komunálneho odpadu</a:t>
            </a:r>
            <a:br>
              <a:rPr lang="en-US" sz="2800" b="1" dirty="0"/>
            </a:br>
            <a:endParaRPr lang="en-US" sz="2400" dirty="0"/>
          </a:p>
        </p:txBody>
      </p:sp>
      <p:pic>
        <p:nvPicPr>
          <p:cNvPr id="19" name="Picture Placeholder 18" descr="A picture containing indoor&#10;&#10;Description automatically generated">
            <a:extLst>
              <a:ext uri="{FF2B5EF4-FFF2-40B4-BE49-F238E27FC236}">
                <a16:creationId xmlns:a16="http://schemas.microsoft.com/office/drawing/2014/main" id="{B9B7D551-6E61-734C-98AF-F49D484DAD8C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/>
          <a:srcRect l="24500" r="24500"/>
          <a:stretch/>
        </p:blipFill>
        <p:spPr>
          <a:xfrm>
            <a:off x="6515100" y="-49520"/>
            <a:ext cx="5676900" cy="6907520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2B11F4A-2F38-748C-5E4C-E51F773214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95897" y="6245648"/>
            <a:ext cx="1172216" cy="430887"/>
          </a:xfrm>
        </p:spPr>
        <p:txBody>
          <a:bodyPr/>
          <a:lstStyle/>
          <a:p>
            <a:endParaRPr lang="sk-SK" dirty="0"/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493DD0-7C36-56AA-52AF-DD91989783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0" name="Content Placeholder 13">
            <a:extLst>
              <a:ext uri="{FF2B5EF4-FFF2-40B4-BE49-F238E27FC236}">
                <a16:creationId xmlns:a16="http://schemas.microsoft.com/office/drawing/2014/main" id="{B68F2F28-37DC-EB65-EA24-4CC1B8D81B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99575357"/>
              </p:ext>
            </p:extLst>
          </p:nvPr>
        </p:nvGraphicFramePr>
        <p:xfrm>
          <a:off x="78623" y="1805849"/>
          <a:ext cx="2308946" cy="2935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1" name="Content Placeholder 13">
            <a:extLst>
              <a:ext uri="{FF2B5EF4-FFF2-40B4-BE49-F238E27FC236}">
                <a16:creationId xmlns:a16="http://schemas.microsoft.com/office/drawing/2014/main" id="{77341026-E8E5-081E-EE53-8FAC355A67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4794339"/>
              </p:ext>
            </p:extLst>
          </p:nvPr>
        </p:nvGraphicFramePr>
        <p:xfrm>
          <a:off x="2387569" y="771430"/>
          <a:ext cx="5130831" cy="4257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35430A38-4A6A-5377-929E-933E5E185AA9}"/>
              </a:ext>
            </a:extLst>
          </p:cNvPr>
          <p:cNvGrpSpPr/>
          <p:nvPr/>
        </p:nvGrpSpPr>
        <p:grpSpPr>
          <a:xfrm>
            <a:off x="335255" y="5002262"/>
            <a:ext cx="7589545" cy="1197085"/>
            <a:chOff x="790058" y="991782"/>
            <a:chExt cx="8667345" cy="1283729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9E4A3FB8-D727-9BE0-0A13-3191CB201A0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26325" y="1020413"/>
              <a:ext cx="397405" cy="429381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5315B608-C133-918D-60E5-78480FA17EC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806768" y="991782"/>
              <a:ext cx="428914" cy="463426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E5A30FB2-779C-8478-EEE7-9769E02DA69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381149" y="1028941"/>
              <a:ext cx="397405" cy="412325"/>
            </a:xfrm>
            <a:prstGeom prst="rect">
              <a:avLst/>
            </a:prstGeom>
          </p:spPr>
        </p:pic>
        <p:graphicFrame>
          <p:nvGraphicFramePr>
            <p:cNvPr id="32" name="Diagram 31">
              <a:extLst>
                <a:ext uri="{FF2B5EF4-FFF2-40B4-BE49-F238E27FC236}">
                  <a16:creationId xmlns:a16="http://schemas.microsoft.com/office/drawing/2014/main" id="{9110110F-32FF-0E9F-8A38-50F3C2D10982}"/>
                </a:ext>
              </a:extLst>
            </p:cNvPr>
            <p:cNvGraphicFramePr/>
            <p:nvPr/>
          </p:nvGraphicFramePr>
          <p:xfrm>
            <a:off x="790058" y="1600907"/>
            <a:ext cx="8667345" cy="674604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8372384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2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2.01852846558100029739E+00&quot;&gt;&lt;m_msothmcolidx val=&quot;0&quot;/&gt;&lt;m_rgb r=&quot;41&quot; g=&quot;41&quot; b=&quot;41&quot;/&gt;&lt;m_nBrightness tagver0=&quot;26206&quot; tagname0=&quot;m_nBrightnessUNRECOGNIZED&quot; val=&quot;0&quot;/&gt;&lt;/elem&gt;&lt;elem m_fUsage=&quot;1.96946721000000057877E+00&quot;&gt;&lt;m_msothmcolidx val=&quot;0&quot;/&gt;&lt;m_rgb r=&quot;86&quot; g=&quot;86&quot; b=&quot;86&quot;/&gt;&lt;m_nBrightness tagver0=&quot;26206&quot; tagname0=&quot;m_nBrightnessUNRECOGNIZED&quot; val=&quot;0&quot;/&gt;&lt;/elem&gt;&lt;elem m_fUsage=&quot;1.49049000000000009258E+00&quot;&gt;&lt;m_msothmcolidx val=&quot;0&quot;/&gt;&lt;m_rgb r=&quot;00&quot; g=&quot;78&quot; b=&quot;CA&quot;/&gt;&lt;m_nBrightness tagver0=&quot;26206&quot; tagname0=&quot;m_nBrightnessUNRECOGNIZED&quot; val=&quot;0&quot;/&gt;&lt;/elem&gt;&lt;elem m_fUsage=&quot;1.00973789999999996603E+00&quot;&gt;&lt;m_msothmcolidx val=&quot;0&quot;/&gt;&lt;m_rgb r=&quot;FF&quot; g=&quot;83&quot; b=&quot;00&quot;/&gt;&lt;m_nBrightness tagver0=&quot;26206&quot; tagname0=&quot;m_nBrightnessUNRECOGNIZED&quot; val=&quot;0&quot;/&gt;&lt;/elem&gt;&lt;elem m_fUsage=&quot;9.69910596090000187708E-01&quot;&gt;&lt;m_msothmcolidx val=&quot;0&quot;/&gt;&lt;m_rgb r=&quot;CC&quot; g=&quot;CC&quot; b=&quot;CC&quot;/&gt;&lt;m_nBrightness tagver0=&quot;26206&quot; tagname0=&quot;m_nBrightnessUNRECOGNIZED&quot; val=&quot;0&quot;/&gt;&lt;/elem&gt;&lt;/m_vecMRU&gt;&lt;/m_mruColor&gt;&lt;m_eweekdayFirstOfWeek val=&quot;2&quot;/&gt;&lt;m_eweekdayFirstOfWorkweek val=&quot;1&quot;/&gt;&lt;m_eweekdayFirstOfWeekend val=&quot;6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4my6oiTA.vhwes.3H0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4my6oiTA.vhwes.3H0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4my6oiTA.vhwes.3H00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4my6oiTA.vhwes.3H0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QlxuIaQLyleHa3E8Xn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q39rakTt.OnYfEpKG8T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QlxuIaQLyleHa3E8Xn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h.Zmr6SvmNz6Xzt0Hf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4my6oiTA.vhwes.3H00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4my6oiTA.vhwes.3H0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M_16x9_EN">
  <a:themeElements>
    <a:clrScheme name="KM_colors">
      <a:dk1>
        <a:srgbClr val="414141"/>
      </a:dk1>
      <a:lt1>
        <a:sysClr val="window" lastClr="FFFFFF"/>
      </a:lt1>
      <a:dk2>
        <a:srgbClr val="0078CA"/>
      </a:dk2>
      <a:lt2>
        <a:srgbClr val="CCCCCC"/>
      </a:lt2>
      <a:accent1>
        <a:srgbClr val="CCCCCC"/>
      </a:accent1>
      <a:accent2>
        <a:srgbClr val="868686"/>
      </a:accent2>
      <a:accent3>
        <a:srgbClr val="414141"/>
      </a:accent3>
      <a:accent4>
        <a:srgbClr val="0078CA"/>
      </a:accent4>
      <a:accent5>
        <a:srgbClr val="00325A"/>
      </a:accent5>
      <a:accent6>
        <a:srgbClr val="FF8300"/>
      </a:accent6>
      <a:hlink>
        <a:srgbClr val="FF8300"/>
      </a:hlink>
      <a:folHlink>
        <a:srgbClr val="FF8300"/>
      </a:folHlink>
    </a:clrScheme>
    <a:fontScheme name="KM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/>
        </a:defPPr>
      </a:lstStyle>
    </a:txDef>
  </a:objectDefaults>
  <a:extraClrSchemeLst/>
  <a:custClrLst>
    <a:custClr name="KM Green">
      <a:srgbClr val="2B8C78"/>
    </a:custClr>
    <a:custClr name="KM Lime">
      <a:srgbClr val="BBC05B"/>
    </a:custClr>
    <a:custClr name="KM Red">
      <a:srgbClr val="DE5050"/>
    </a:custClr>
    <a:custClr name="KM Purple">
      <a:srgbClr val="9D789B"/>
    </a:custClr>
  </a:custClrLst>
  <a:extLst>
    <a:ext uri="{05A4C25C-085E-4340-85A3-A5531E510DB2}">
      <thm15:themeFamily xmlns:thm15="http://schemas.microsoft.com/office/thememl/2012/main" name="Template_KM_16x9_EN.potx" id="{BAEF7BE7-98A1-4B16-AAB6-246C2EB4EED1}" vid="{75598815-46B5-4214-A7D2-4036910275C0}"/>
    </a:ext>
  </a:extLst>
</a:theme>
</file>

<file path=ppt/theme/theme2.xml><?xml version="1.0" encoding="utf-8"?>
<a:theme xmlns:a="http://schemas.openxmlformats.org/drawingml/2006/main" name="Office-Design">
  <a:themeElements>
    <a:clrScheme name="KM_colors">
      <a:dk1>
        <a:srgbClr val="414141"/>
      </a:dk1>
      <a:lt1>
        <a:sysClr val="window" lastClr="FFFFFF"/>
      </a:lt1>
      <a:dk2>
        <a:srgbClr val="0078CA"/>
      </a:dk2>
      <a:lt2>
        <a:srgbClr val="CCCCCC"/>
      </a:lt2>
      <a:accent1>
        <a:srgbClr val="CCCCCC"/>
      </a:accent1>
      <a:accent2>
        <a:srgbClr val="868686"/>
      </a:accent2>
      <a:accent3>
        <a:srgbClr val="414141"/>
      </a:accent3>
      <a:accent4>
        <a:srgbClr val="0078CA"/>
      </a:accent4>
      <a:accent5>
        <a:srgbClr val="00325A"/>
      </a:accent5>
      <a:accent6>
        <a:srgbClr val="FF8300"/>
      </a:accent6>
      <a:hlink>
        <a:srgbClr val="FF8300"/>
      </a:hlink>
      <a:folHlink>
        <a:srgbClr val="FF8300"/>
      </a:folHlink>
    </a:clrScheme>
    <a:fontScheme name="KM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KM_colors">
      <a:dk1>
        <a:srgbClr val="414141"/>
      </a:dk1>
      <a:lt1>
        <a:sysClr val="window" lastClr="FFFFFF"/>
      </a:lt1>
      <a:dk2>
        <a:srgbClr val="0078CA"/>
      </a:dk2>
      <a:lt2>
        <a:srgbClr val="CCCCCC"/>
      </a:lt2>
      <a:accent1>
        <a:srgbClr val="CCCCCC"/>
      </a:accent1>
      <a:accent2>
        <a:srgbClr val="868686"/>
      </a:accent2>
      <a:accent3>
        <a:srgbClr val="414141"/>
      </a:accent3>
      <a:accent4>
        <a:srgbClr val="0078CA"/>
      </a:accent4>
      <a:accent5>
        <a:srgbClr val="00325A"/>
      </a:accent5>
      <a:accent6>
        <a:srgbClr val="FF8300"/>
      </a:accent6>
      <a:hlink>
        <a:srgbClr val="FF8300"/>
      </a:hlink>
      <a:folHlink>
        <a:srgbClr val="FF8300"/>
      </a:folHlink>
    </a:clrScheme>
    <a:fontScheme name="KM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68B07776149F6489B49DE5723BA65AF" ma:contentTypeVersion="13" ma:contentTypeDescription="Vytvoří nový dokument" ma:contentTypeScope="" ma:versionID="c1075bb6206ae31f462b4ef2667a0167">
  <xsd:schema xmlns:xsd="http://www.w3.org/2001/XMLSchema" xmlns:xs="http://www.w3.org/2001/XMLSchema" xmlns:p="http://schemas.microsoft.com/office/2006/metadata/properties" xmlns:ns2="ca75af4f-63cf-4b10-b368-fa399a260f8c" xmlns:ns3="a1f449ad-801c-4c8e-a49d-6750f174d4ad" targetNamespace="http://schemas.microsoft.com/office/2006/metadata/properties" ma:root="true" ma:fieldsID="1afb2e06de0bda1893d441fb7ae02cf4" ns2:_="" ns3:_="">
    <xsd:import namespace="ca75af4f-63cf-4b10-b368-fa399a260f8c"/>
    <xsd:import namespace="a1f449ad-801c-4c8e-a49d-6750f174d4a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75af4f-63cf-4b10-b368-fa399a260f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Značky obrázků" ma:readOnly="false" ma:fieldId="{5cf76f15-5ced-4ddc-b409-7134ff3c332f}" ma:taxonomyMulti="true" ma:sspId="28fccb43-589e-4dd3-be02-dde011ed90a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f449ad-801c-4c8e-a49d-6750f174d4a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5a7a864d-77e4-4aab-9d7a-71019211645d}" ma:internalName="TaxCatchAll" ma:showField="CatchAllData" ma:web="a1f449ad-801c-4c8e-a49d-6750f174d4a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a75af4f-63cf-4b10-b368-fa399a260f8c">
      <Terms xmlns="http://schemas.microsoft.com/office/infopath/2007/PartnerControls"/>
    </lcf76f155ced4ddcb4097134ff3c332f>
    <TaxCatchAll xmlns="a1f449ad-801c-4c8e-a49d-6750f174d4ad" xsi:nil="true"/>
  </documentManagement>
</p:properties>
</file>

<file path=customXml/itemProps1.xml><?xml version="1.0" encoding="utf-8"?>
<ds:datastoreItem xmlns:ds="http://schemas.openxmlformats.org/officeDocument/2006/customXml" ds:itemID="{DFD086A2-9040-45A5-A9D9-5D560FCBA69B}"/>
</file>

<file path=customXml/itemProps2.xml><?xml version="1.0" encoding="utf-8"?>
<ds:datastoreItem xmlns:ds="http://schemas.openxmlformats.org/officeDocument/2006/customXml" ds:itemID="{13245C10-0692-438C-88DC-F6AD2B11BE4B}"/>
</file>

<file path=customXml/itemProps3.xml><?xml version="1.0" encoding="utf-8"?>
<ds:datastoreItem xmlns:ds="http://schemas.openxmlformats.org/officeDocument/2006/customXml" ds:itemID="{4D71DA62-5107-4CDB-A1AF-E8EFC50F33F9}"/>
</file>

<file path=docProps/app.xml><?xml version="1.0" encoding="utf-8"?>
<Properties xmlns="http://schemas.openxmlformats.org/officeDocument/2006/extended-properties" xmlns:vt="http://schemas.openxmlformats.org/officeDocument/2006/docPropsVTypes">
  <Template>Template_KM_16x9_EN</Template>
  <TotalTime>0</TotalTime>
  <Words>24</Words>
  <Application>Microsoft Office PowerPoint</Application>
  <PresentationFormat>Widescreen</PresentationFormat>
  <Paragraphs>1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Symbol</vt:lpstr>
      <vt:lpstr>Template_KM_16x9_EN</vt:lpstr>
      <vt:lpstr>think-cell Slide</vt:lpstr>
      <vt:lpstr>Separovanie komunálneho odpadu </vt:lpstr>
    </vt:vector>
  </TitlesOfParts>
  <Company>KraussMaffei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, Arial,  44 pt, BOLD, italic</dc:title>
  <dc:creator>Malcho Martin</dc:creator>
  <cp:lastModifiedBy>Nagyova Zuzana</cp:lastModifiedBy>
  <cp:revision>122</cp:revision>
  <cp:lastPrinted>2023-02-08T08:02:54Z</cp:lastPrinted>
  <dcterms:created xsi:type="dcterms:W3CDTF">2019-07-03T14:02:03Z</dcterms:created>
  <dcterms:modified xsi:type="dcterms:W3CDTF">2023-02-08T10:2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8B07776149F6489B49DE5723BA65AF</vt:lpwstr>
  </property>
</Properties>
</file>